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336" r:id="rId2"/>
    <p:sldId id="332" r:id="rId3"/>
    <p:sldId id="280" r:id="rId4"/>
    <p:sldId id="334" r:id="rId5"/>
    <p:sldId id="266" r:id="rId6"/>
    <p:sldId id="343" r:id="rId7"/>
    <p:sldId id="344" r:id="rId8"/>
    <p:sldId id="345" r:id="rId9"/>
    <p:sldId id="346" r:id="rId10"/>
    <p:sldId id="342" r:id="rId11"/>
    <p:sldId id="335" r:id="rId12"/>
    <p:sldId id="267" r:id="rId13"/>
    <p:sldId id="339" r:id="rId14"/>
    <p:sldId id="337" r:id="rId15"/>
    <p:sldId id="340" r:id="rId16"/>
    <p:sldId id="347" r:id="rId17"/>
    <p:sldId id="349" r:id="rId18"/>
    <p:sldId id="348" r:id="rId19"/>
    <p:sldId id="350" r:id="rId20"/>
    <p:sldId id="284" r:id="rId21"/>
    <p:sldId id="351" r:id="rId22"/>
    <p:sldId id="352" r:id="rId23"/>
    <p:sldId id="323" r:id="rId24"/>
    <p:sldId id="31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2" userDrawn="1">
          <p15:clr>
            <a:srgbClr val="A4A3A4"/>
          </p15:clr>
        </p15:guide>
        <p15:guide id="2" pos="7272" userDrawn="1">
          <p15:clr>
            <a:srgbClr val="A4A3A4"/>
          </p15:clr>
        </p15:guide>
        <p15:guide id="3" orient="horz" pos="408" userDrawn="1">
          <p15:clr>
            <a:srgbClr val="A4A3A4"/>
          </p15:clr>
        </p15:guide>
        <p15:guide id="4" pos="40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13" autoAdjust="0"/>
    <p:restoredTop sz="81806" autoAdjust="0"/>
  </p:normalViewPr>
  <p:slideViewPr>
    <p:cSldViewPr snapToGrid="0">
      <p:cViewPr varScale="1">
        <p:scale>
          <a:sx n="56" d="100"/>
          <a:sy n="56" d="100"/>
        </p:scale>
        <p:origin x="1096" y="52"/>
      </p:cViewPr>
      <p:guideLst>
        <p:guide orient="horz" pos="3912"/>
        <p:guide pos="7272"/>
        <p:guide orient="horz" pos="408"/>
        <p:guide pos="4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2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B4236C-E27C-4801-89AA-49BEE7CC0505}" type="datetimeFigureOut">
              <a:rPr lang="en-US" smtClean="0"/>
              <a:t>9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4DCCE2-6E76-4EB7-AB1E-00FBA6CB58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830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4DCCE2-6E76-4EB7-AB1E-00FBA6CB583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13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7" name="Google Shape;1957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8" name="Google Shape;1958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55375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OOP uses are countless and it’s the most favorable method of programming…</a:t>
            </a:r>
          </a:p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According to many sources, this is the place where the difference between a good code and a bad one is being made!</a:t>
            </a:r>
            <a:endParaRPr lang="en-US" sz="1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4DCCE2-6E76-4EB7-AB1E-00FBA6CB583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42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OOP uses are countless and it’s the most favorable method of programming…</a:t>
            </a:r>
          </a:p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According to many sources, this is the place where the difference between a good code and a bad one is being made!</a:t>
            </a:r>
            <a:endParaRPr lang="en-US" sz="14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4DCCE2-6E76-4EB7-AB1E-00FBA6CB583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206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iginal design is on the left now, and the </a:t>
            </a:r>
            <a:r>
              <a:rPr lang="en-US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anc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e have made from the design is on the right. As you can guess the original design is sth unique but we can create multiple buildings and </a:t>
            </a:r>
            <a:r>
              <a:rPr lang="en-US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anc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rom the design with different colors or materials. This is how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US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anc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ork. The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tself only shows structural design and we must take </a:t>
            </a:r>
            <a:r>
              <a:rPr lang="en-US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tanc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rom the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4DCCE2-6E76-4EB7-AB1E-00FBA6CB583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430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4DCCE2-6E76-4EB7-AB1E-00FBA6CB583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199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C1EB7A-4253-43B6-9F0A-E7C67AA5828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23834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C1A5F7-0D42-4B74-AC4F-EC1000BCA4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657850" y="685800"/>
            <a:ext cx="3676650" cy="3676650"/>
          </a:xfrm>
          <a:custGeom>
            <a:avLst/>
            <a:gdLst>
              <a:gd name="connsiteX0" fmla="*/ 0 w 3676650"/>
              <a:gd name="connsiteY0" fmla="*/ 0 h 3676650"/>
              <a:gd name="connsiteX1" fmla="*/ 3676650 w 3676650"/>
              <a:gd name="connsiteY1" fmla="*/ 0 h 3676650"/>
              <a:gd name="connsiteX2" fmla="*/ 3676650 w 3676650"/>
              <a:gd name="connsiteY2" fmla="*/ 3676650 h 3676650"/>
              <a:gd name="connsiteX3" fmla="*/ 0 w 3676650"/>
              <a:gd name="connsiteY3" fmla="*/ 3676650 h 367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3676650">
                <a:moveTo>
                  <a:pt x="0" y="0"/>
                </a:moveTo>
                <a:lnTo>
                  <a:pt x="3676650" y="0"/>
                </a:lnTo>
                <a:lnTo>
                  <a:pt x="3676650" y="3676650"/>
                </a:lnTo>
                <a:lnTo>
                  <a:pt x="0" y="36766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66AAF7F-4706-441A-9F37-BB30C8F4779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67150" y="4381500"/>
            <a:ext cx="1790700" cy="1790700"/>
          </a:xfrm>
          <a:custGeom>
            <a:avLst/>
            <a:gdLst>
              <a:gd name="connsiteX0" fmla="*/ 0 w 1790700"/>
              <a:gd name="connsiteY0" fmla="*/ 0 h 1790700"/>
              <a:gd name="connsiteX1" fmla="*/ 1790700 w 1790700"/>
              <a:gd name="connsiteY1" fmla="*/ 0 h 1790700"/>
              <a:gd name="connsiteX2" fmla="*/ 1790700 w 1790700"/>
              <a:gd name="connsiteY2" fmla="*/ 1790700 h 1790700"/>
              <a:gd name="connsiteX3" fmla="*/ 0 w 1790700"/>
              <a:gd name="connsiteY3" fmla="*/ 179070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90700" h="1790700">
                <a:moveTo>
                  <a:pt x="0" y="0"/>
                </a:moveTo>
                <a:lnTo>
                  <a:pt x="1790700" y="0"/>
                </a:lnTo>
                <a:lnTo>
                  <a:pt x="1790700" y="1790700"/>
                </a:lnTo>
                <a:lnTo>
                  <a:pt x="0" y="17907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976F825-6D94-4095-BE41-7B5B52E63B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877786" y="2392136"/>
            <a:ext cx="1989364" cy="1989364"/>
          </a:xfrm>
          <a:custGeom>
            <a:avLst/>
            <a:gdLst>
              <a:gd name="connsiteX0" fmla="*/ 0 w 1989364"/>
              <a:gd name="connsiteY0" fmla="*/ 0 h 1989364"/>
              <a:gd name="connsiteX1" fmla="*/ 1989364 w 1989364"/>
              <a:gd name="connsiteY1" fmla="*/ 0 h 1989364"/>
              <a:gd name="connsiteX2" fmla="*/ 1989364 w 1989364"/>
              <a:gd name="connsiteY2" fmla="*/ 1989364 h 1989364"/>
              <a:gd name="connsiteX3" fmla="*/ 0 w 1989364"/>
              <a:gd name="connsiteY3" fmla="*/ 1989364 h 1989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9364" h="1989364">
                <a:moveTo>
                  <a:pt x="0" y="0"/>
                </a:moveTo>
                <a:lnTo>
                  <a:pt x="1989364" y="0"/>
                </a:lnTo>
                <a:lnTo>
                  <a:pt x="1989364" y="1989364"/>
                </a:lnTo>
                <a:lnTo>
                  <a:pt x="0" y="19893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3429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  <p:bldP spid="11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95BC0E5-9D32-4070-BEEB-7D88BAB780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423400" y="1833566"/>
            <a:ext cx="2768600" cy="2914644"/>
          </a:xfrm>
          <a:custGeom>
            <a:avLst/>
            <a:gdLst>
              <a:gd name="connsiteX0" fmla="*/ 0 w 2768600"/>
              <a:gd name="connsiteY0" fmla="*/ 0 h 2914644"/>
              <a:gd name="connsiteX1" fmla="*/ 2768600 w 2768600"/>
              <a:gd name="connsiteY1" fmla="*/ 0 h 2914644"/>
              <a:gd name="connsiteX2" fmla="*/ 2768600 w 2768600"/>
              <a:gd name="connsiteY2" fmla="*/ 2914644 h 2914644"/>
              <a:gd name="connsiteX3" fmla="*/ 0 w 2768600"/>
              <a:gd name="connsiteY3" fmla="*/ 2914644 h 291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8600" h="2914644">
                <a:moveTo>
                  <a:pt x="0" y="0"/>
                </a:moveTo>
                <a:lnTo>
                  <a:pt x="2768600" y="0"/>
                </a:lnTo>
                <a:lnTo>
                  <a:pt x="2768600" y="2914644"/>
                </a:lnTo>
                <a:lnTo>
                  <a:pt x="0" y="29146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D7DE9E4-A92C-4EB3-9970-3E801E00DD6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50000" y="1833566"/>
            <a:ext cx="2768600" cy="2914644"/>
          </a:xfrm>
          <a:custGeom>
            <a:avLst/>
            <a:gdLst>
              <a:gd name="connsiteX0" fmla="*/ 0 w 2768600"/>
              <a:gd name="connsiteY0" fmla="*/ 0 h 2914644"/>
              <a:gd name="connsiteX1" fmla="*/ 2768600 w 2768600"/>
              <a:gd name="connsiteY1" fmla="*/ 0 h 2914644"/>
              <a:gd name="connsiteX2" fmla="*/ 2768600 w 2768600"/>
              <a:gd name="connsiteY2" fmla="*/ 2914644 h 2914644"/>
              <a:gd name="connsiteX3" fmla="*/ 0 w 2768600"/>
              <a:gd name="connsiteY3" fmla="*/ 2914644 h 291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8600" h="2914644">
                <a:moveTo>
                  <a:pt x="0" y="0"/>
                </a:moveTo>
                <a:lnTo>
                  <a:pt x="2768600" y="0"/>
                </a:lnTo>
                <a:lnTo>
                  <a:pt x="2768600" y="2914644"/>
                </a:lnTo>
                <a:lnTo>
                  <a:pt x="0" y="29146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7E91BBD-441F-4100-B1C4-5D42331BB77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76600" y="1833566"/>
            <a:ext cx="2768600" cy="2914644"/>
          </a:xfrm>
          <a:custGeom>
            <a:avLst/>
            <a:gdLst>
              <a:gd name="connsiteX0" fmla="*/ 0 w 2768600"/>
              <a:gd name="connsiteY0" fmla="*/ 0 h 2914644"/>
              <a:gd name="connsiteX1" fmla="*/ 2768600 w 2768600"/>
              <a:gd name="connsiteY1" fmla="*/ 0 h 2914644"/>
              <a:gd name="connsiteX2" fmla="*/ 2768600 w 2768600"/>
              <a:gd name="connsiteY2" fmla="*/ 2914644 h 2914644"/>
              <a:gd name="connsiteX3" fmla="*/ 0 w 2768600"/>
              <a:gd name="connsiteY3" fmla="*/ 2914644 h 291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8600" h="2914644">
                <a:moveTo>
                  <a:pt x="0" y="0"/>
                </a:moveTo>
                <a:lnTo>
                  <a:pt x="2768600" y="0"/>
                </a:lnTo>
                <a:lnTo>
                  <a:pt x="2768600" y="2914644"/>
                </a:lnTo>
                <a:lnTo>
                  <a:pt x="0" y="29146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630778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 animBg="1"/>
      <p:bldP spid="7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DE86ABC-BA1F-4CE1-92B3-F4D13B0519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56192" y="685800"/>
            <a:ext cx="2350008" cy="1678634"/>
          </a:xfrm>
          <a:custGeom>
            <a:avLst/>
            <a:gdLst>
              <a:gd name="connsiteX0" fmla="*/ 0 w 2350008"/>
              <a:gd name="connsiteY0" fmla="*/ 0 h 1678634"/>
              <a:gd name="connsiteX1" fmla="*/ 2350008 w 2350008"/>
              <a:gd name="connsiteY1" fmla="*/ 0 h 1678634"/>
              <a:gd name="connsiteX2" fmla="*/ 2350008 w 2350008"/>
              <a:gd name="connsiteY2" fmla="*/ 1678634 h 1678634"/>
              <a:gd name="connsiteX3" fmla="*/ 0 w 2350008"/>
              <a:gd name="connsiteY3" fmla="*/ 1678634 h 1678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0008" h="1678634">
                <a:moveTo>
                  <a:pt x="0" y="0"/>
                </a:moveTo>
                <a:lnTo>
                  <a:pt x="2350008" y="0"/>
                </a:lnTo>
                <a:lnTo>
                  <a:pt x="2350008" y="1678634"/>
                </a:lnTo>
                <a:lnTo>
                  <a:pt x="0" y="16786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4F3992-BAAD-4221-BFE3-2460BDD281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19801" y="4458970"/>
            <a:ext cx="2367979" cy="1713230"/>
          </a:xfrm>
          <a:custGeom>
            <a:avLst/>
            <a:gdLst>
              <a:gd name="connsiteX0" fmla="*/ 0 w 2367979"/>
              <a:gd name="connsiteY0" fmla="*/ 0 h 1713230"/>
              <a:gd name="connsiteX1" fmla="*/ 2367979 w 2367979"/>
              <a:gd name="connsiteY1" fmla="*/ 0 h 1713230"/>
              <a:gd name="connsiteX2" fmla="*/ 2367979 w 2367979"/>
              <a:gd name="connsiteY2" fmla="*/ 1713230 h 1713230"/>
              <a:gd name="connsiteX3" fmla="*/ 0 w 2367979"/>
              <a:gd name="connsiteY3" fmla="*/ 1713230 h 171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67979" h="1713230">
                <a:moveTo>
                  <a:pt x="0" y="0"/>
                </a:moveTo>
                <a:lnTo>
                  <a:pt x="2367979" y="0"/>
                </a:lnTo>
                <a:lnTo>
                  <a:pt x="2367979" y="1713230"/>
                </a:lnTo>
                <a:lnTo>
                  <a:pt x="0" y="17132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947F3-E15A-4D28-BF17-6B0D48F5FE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19801" y="685799"/>
            <a:ext cx="2997411" cy="3657071"/>
          </a:xfrm>
          <a:custGeom>
            <a:avLst/>
            <a:gdLst>
              <a:gd name="connsiteX0" fmla="*/ 0 w 2997411"/>
              <a:gd name="connsiteY0" fmla="*/ 0 h 3657071"/>
              <a:gd name="connsiteX1" fmla="*/ 2997411 w 2997411"/>
              <a:gd name="connsiteY1" fmla="*/ 0 h 3657071"/>
              <a:gd name="connsiteX2" fmla="*/ 2997411 w 2997411"/>
              <a:gd name="connsiteY2" fmla="*/ 1678635 h 3657071"/>
              <a:gd name="connsiteX3" fmla="*/ 2366128 w 2997411"/>
              <a:gd name="connsiteY3" fmla="*/ 1678635 h 3657071"/>
              <a:gd name="connsiteX4" fmla="*/ 2366128 w 2997411"/>
              <a:gd name="connsiteY4" fmla="*/ 3657071 h 3657071"/>
              <a:gd name="connsiteX5" fmla="*/ 0 w 2997411"/>
              <a:gd name="connsiteY5" fmla="*/ 3657071 h 3657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7411" h="3657071">
                <a:moveTo>
                  <a:pt x="0" y="0"/>
                </a:moveTo>
                <a:lnTo>
                  <a:pt x="2997411" y="0"/>
                </a:lnTo>
                <a:lnTo>
                  <a:pt x="2997411" y="1678635"/>
                </a:lnTo>
                <a:lnTo>
                  <a:pt x="2366128" y="1678635"/>
                </a:lnTo>
                <a:lnTo>
                  <a:pt x="2366128" y="3657071"/>
                </a:lnTo>
                <a:lnTo>
                  <a:pt x="0" y="3657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29924FC-304F-4E2F-99F8-48817B6B264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508790" y="2487168"/>
            <a:ext cx="2997411" cy="3685032"/>
          </a:xfrm>
          <a:custGeom>
            <a:avLst/>
            <a:gdLst>
              <a:gd name="connsiteX0" fmla="*/ 0 w 2997411"/>
              <a:gd name="connsiteY0" fmla="*/ 0 h 3685032"/>
              <a:gd name="connsiteX1" fmla="*/ 2997411 w 2997411"/>
              <a:gd name="connsiteY1" fmla="*/ 0 h 3685032"/>
              <a:gd name="connsiteX2" fmla="*/ 2997411 w 2997411"/>
              <a:gd name="connsiteY2" fmla="*/ 3685032 h 3685032"/>
              <a:gd name="connsiteX3" fmla="*/ 0 w 2997411"/>
              <a:gd name="connsiteY3" fmla="*/ 3685032 h 3685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411" h="3685032">
                <a:moveTo>
                  <a:pt x="0" y="0"/>
                </a:moveTo>
                <a:lnTo>
                  <a:pt x="2997411" y="0"/>
                </a:lnTo>
                <a:lnTo>
                  <a:pt x="2997411" y="3685032"/>
                </a:lnTo>
                <a:lnTo>
                  <a:pt x="0" y="36850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898165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2" grpId="0" animBg="1"/>
      <p:bldP spid="9" grpId="0" animBg="1"/>
      <p:bldP spid="15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2B8C257-AA89-4628-9821-8F1FCCA5B5C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80326" y="0"/>
            <a:ext cx="3858988" cy="6172200"/>
          </a:xfrm>
          <a:custGeom>
            <a:avLst/>
            <a:gdLst>
              <a:gd name="connsiteX0" fmla="*/ 0 w 3858988"/>
              <a:gd name="connsiteY0" fmla="*/ 0 h 6172200"/>
              <a:gd name="connsiteX1" fmla="*/ 3858988 w 3858988"/>
              <a:gd name="connsiteY1" fmla="*/ 0 h 6172200"/>
              <a:gd name="connsiteX2" fmla="*/ 3858988 w 3858988"/>
              <a:gd name="connsiteY2" fmla="*/ 6172200 h 6172200"/>
              <a:gd name="connsiteX3" fmla="*/ 0 w 3858988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8988" h="6172200">
                <a:moveTo>
                  <a:pt x="0" y="0"/>
                </a:moveTo>
                <a:lnTo>
                  <a:pt x="3858988" y="0"/>
                </a:lnTo>
                <a:lnTo>
                  <a:pt x="3858988" y="6172200"/>
                </a:lnTo>
                <a:lnTo>
                  <a:pt x="0" y="6172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857165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1AF4D69-99F6-4467-BDCD-4864394CE5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5802" y="1789254"/>
            <a:ext cx="11506199" cy="2888537"/>
          </a:xfrm>
          <a:custGeom>
            <a:avLst/>
            <a:gdLst>
              <a:gd name="connsiteX0" fmla="*/ 0 w 11506199"/>
              <a:gd name="connsiteY0" fmla="*/ 0 h 2888537"/>
              <a:gd name="connsiteX1" fmla="*/ 11506199 w 11506199"/>
              <a:gd name="connsiteY1" fmla="*/ 0 h 2888537"/>
              <a:gd name="connsiteX2" fmla="*/ 11506199 w 11506199"/>
              <a:gd name="connsiteY2" fmla="*/ 2888537 h 2888537"/>
              <a:gd name="connsiteX3" fmla="*/ 0 w 11506199"/>
              <a:gd name="connsiteY3" fmla="*/ 2888537 h 288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06199" h="2888537">
                <a:moveTo>
                  <a:pt x="0" y="0"/>
                </a:moveTo>
                <a:lnTo>
                  <a:pt x="11506199" y="0"/>
                </a:lnTo>
                <a:lnTo>
                  <a:pt x="11506199" y="2888537"/>
                </a:lnTo>
                <a:lnTo>
                  <a:pt x="0" y="2888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705577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1AE549F-EC4A-4EA8-A652-62B53411C9B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85800" y="3467100"/>
            <a:ext cx="7243997" cy="2705100"/>
          </a:xfrm>
          <a:custGeom>
            <a:avLst/>
            <a:gdLst>
              <a:gd name="connsiteX0" fmla="*/ 0 w 7243997"/>
              <a:gd name="connsiteY0" fmla="*/ 0 h 2705100"/>
              <a:gd name="connsiteX1" fmla="*/ 7243997 w 7243997"/>
              <a:gd name="connsiteY1" fmla="*/ 0 h 2705100"/>
              <a:gd name="connsiteX2" fmla="*/ 7243997 w 7243997"/>
              <a:gd name="connsiteY2" fmla="*/ 2705100 h 2705100"/>
              <a:gd name="connsiteX3" fmla="*/ 0 w 7243997"/>
              <a:gd name="connsiteY3" fmla="*/ 2705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3997" h="2705100">
                <a:moveTo>
                  <a:pt x="0" y="0"/>
                </a:moveTo>
                <a:lnTo>
                  <a:pt x="7243997" y="0"/>
                </a:lnTo>
                <a:lnTo>
                  <a:pt x="7243997" y="2705100"/>
                </a:lnTo>
                <a:lnTo>
                  <a:pt x="0" y="2705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59D3F52-1DCE-41AC-A54C-4F37ABD818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5800" y="685800"/>
            <a:ext cx="2651760" cy="2651760"/>
          </a:xfrm>
          <a:custGeom>
            <a:avLst/>
            <a:gdLst>
              <a:gd name="connsiteX0" fmla="*/ 0 w 2651760"/>
              <a:gd name="connsiteY0" fmla="*/ 0 h 2651760"/>
              <a:gd name="connsiteX1" fmla="*/ 2651760 w 2651760"/>
              <a:gd name="connsiteY1" fmla="*/ 0 h 2651760"/>
              <a:gd name="connsiteX2" fmla="*/ 2651760 w 2651760"/>
              <a:gd name="connsiteY2" fmla="*/ 2651760 h 2651760"/>
              <a:gd name="connsiteX3" fmla="*/ 0 w 2651760"/>
              <a:gd name="connsiteY3" fmla="*/ 2651760 h 2651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1760" h="2651760">
                <a:moveTo>
                  <a:pt x="0" y="0"/>
                </a:moveTo>
                <a:lnTo>
                  <a:pt x="2651760" y="0"/>
                </a:lnTo>
                <a:lnTo>
                  <a:pt x="2651760" y="2651760"/>
                </a:lnTo>
                <a:lnTo>
                  <a:pt x="0" y="26517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90120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46035360-BF45-40E9-A6EA-F45FE91E5D0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05800" y="3108960"/>
            <a:ext cx="3886200" cy="3749040"/>
          </a:xfrm>
          <a:custGeom>
            <a:avLst/>
            <a:gdLst>
              <a:gd name="connsiteX0" fmla="*/ 0 w 7243997"/>
              <a:gd name="connsiteY0" fmla="*/ 0 h 2705100"/>
              <a:gd name="connsiteX1" fmla="*/ 7243997 w 7243997"/>
              <a:gd name="connsiteY1" fmla="*/ 0 h 2705100"/>
              <a:gd name="connsiteX2" fmla="*/ 7243997 w 7243997"/>
              <a:gd name="connsiteY2" fmla="*/ 2705100 h 2705100"/>
              <a:gd name="connsiteX3" fmla="*/ 0 w 7243997"/>
              <a:gd name="connsiteY3" fmla="*/ 2705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43997" h="2705100">
                <a:moveTo>
                  <a:pt x="0" y="0"/>
                </a:moveTo>
                <a:lnTo>
                  <a:pt x="7243997" y="0"/>
                </a:lnTo>
                <a:lnTo>
                  <a:pt x="7243997" y="2705100"/>
                </a:lnTo>
                <a:lnTo>
                  <a:pt x="0" y="2705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9C99BEDE-C9B2-4C03-88C8-0FD16CB5DB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05298" y="3108960"/>
            <a:ext cx="3886199" cy="3749040"/>
          </a:xfrm>
          <a:custGeom>
            <a:avLst/>
            <a:gdLst>
              <a:gd name="connsiteX0" fmla="*/ 0 w 2651760"/>
              <a:gd name="connsiteY0" fmla="*/ 0 h 2651760"/>
              <a:gd name="connsiteX1" fmla="*/ 2651760 w 2651760"/>
              <a:gd name="connsiteY1" fmla="*/ 0 h 2651760"/>
              <a:gd name="connsiteX2" fmla="*/ 2651760 w 2651760"/>
              <a:gd name="connsiteY2" fmla="*/ 2651760 h 2651760"/>
              <a:gd name="connsiteX3" fmla="*/ 0 w 2651760"/>
              <a:gd name="connsiteY3" fmla="*/ 2651760 h 2651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51760" h="2651760">
                <a:moveTo>
                  <a:pt x="0" y="0"/>
                </a:moveTo>
                <a:lnTo>
                  <a:pt x="2651760" y="0"/>
                </a:lnTo>
                <a:lnTo>
                  <a:pt x="2651760" y="2651760"/>
                </a:lnTo>
                <a:lnTo>
                  <a:pt x="0" y="26517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366879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F4827DD-BB80-4B2E-A801-AC41505A901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91450" y="3491412"/>
            <a:ext cx="4400550" cy="3366588"/>
          </a:xfrm>
          <a:custGeom>
            <a:avLst/>
            <a:gdLst>
              <a:gd name="connsiteX0" fmla="*/ 0 w 4400550"/>
              <a:gd name="connsiteY0" fmla="*/ 0 h 3337560"/>
              <a:gd name="connsiteX1" fmla="*/ 4400550 w 4400550"/>
              <a:gd name="connsiteY1" fmla="*/ 0 h 3337560"/>
              <a:gd name="connsiteX2" fmla="*/ 4400550 w 4400550"/>
              <a:gd name="connsiteY2" fmla="*/ 3337560 h 3337560"/>
              <a:gd name="connsiteX3" fmla="*/ 0 w 4400550"/>
              <a:gd name="connsiteY3" fmla="*/ 3337560 h 3337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0550" h="3337560">
                <a:moveTo>
                  <a:pt x="0" y="0"/>
                </a:moveTo>
                <a:lnTo>
                  <a:pt x="4400550" y="0"/>
                </a:lnTo>
                <a:lnTo>
                  <a:pt x="4400550" y="3337560"/>
                </a:lnTo>
                <a:lnTo>
                  <a:pt x="0" y="3337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B48ADDD-6AD9-4779-8929-15723DC10B8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400550" cy="3352074"/>
          </a:xfrm>
          <a:custGeom>
            <a:avLst/>
            <a:gdLst>
              <a:gd name="connsiteX0" fmla="*/ 0 w 4400550"/>
              <a:gd name="connsiteY0" fmla="*/ 0 h 3337560"/>
              <a:gd name="connsiteX1" fmla="*/ 4400550 w 4400550"/>
              <a:gd name="connsiteY1" fmla="*/ 0 h 3337560"/>
              <a:gd name="connsiteX2" fmla="*/ 4400550 w 4400550"/>
              <a:gd name="connsiteY2" fmla="*/ 3337560 h 3337560"/>
              <a:gd name="connsiteX3" fmla="*/ 0 w 4400550"/>
              <a:gd name="connsiteY3" fmla="*/ 3337560 h 3337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0550" h="3337560">
                <a:moveTo>
                  <a:pt x="0" y="0"/>
                </a:moveTo>
                <a:lnTo>
                  <a:pt x="4400550" y="0"/>
                </a:lnTo>
                <a:lnTo>
                  <a:pt x="4400550" y="3337560"/>
                </a:lnTo>
                <a:lnTo>
                  <a:pt x="0" y="3337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86EBACB-0A0E-4C77-B892-E62AFA44576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3491412"/>
            <a:ext cx="7632699" cy="3366588"/>
          </a:xfrm>
          <a:custGeom>
            <a:avLst/>
            <a:gdLst>
              <a:gd name="connsiteX0" fmla="*/ 0 w 7594599"/>
              <a:gd name="connsiteY0" fmla="*/ 0 h 3337560"/>
              <a:gd name="connsiteX1" fmla="*/ 7594599 w 7594599"/>
              <a:gd name="connsiteY1" fmla="*/ 0 h 3337560"/>
              <a:gd name="connsiteX2" fmla="*/ 7594599 w 7594599"/>
              <a:gd name="connsiteY2" fmla="*/ 3337560 h 3337560"/>
              <a:gd name="connsiteX3" fmla="*/ 0 w 7594599"/>
              <a:gd name="connsiteY3" fmla="*/ 3337560 h 3337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94599" h="3337560">
                <a:moveTo>
                  <a:pt x="0" y="0"/>
                </a:moveTo>
                <a:lnTo>
                  <a:pt x="7594599" y="0"/>
                </a:lnTo>
                <a:lnTo>
                  <a:pt x="7594599" y="3337560"/>
                </a:lnTo>
                <a:lnTo>
                  <a:pt x="0" y="3337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164397D-3FFE-44AF-8C14-1A90E3B5A34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59302" y="0"/>
            <a:ext cx="7632698" cy="3352074"/>
          </a:xfrm>
          <a:custGeom>
            <a:avLst/>
            <a:gdLst>
              <a:gd name="connsiteX0" fmla="*/ 0 w 7594599"/>
              <a:gd name="connsiteY0" fmla="*/ 0 h 3337560"/>
              <a:gd name="connsiteX1" fmla="*/ 7594599 w 7594599"/>
              <a:gd name="connsiteY1" fmla="*/ 0 h 3337560"/>
              <a:gd name="connsiteX2" fmla="*/ 7594599 w 7594599"/>
              <a:gd name="connsiteY2" fmla="*/ 3337560 h 3337560"/>
              <a:gd name="connsiteX3" fmla="*/ 0 w 7594599"/>
              <a:gd name="connsiteY3" fmla="*/ 3337560 h 3337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94599" h="3337560">
                <a:moveTo>
                  <a:pt x="0" y="0"/>
                </a:moveTo>
                <a:lnTo>
                  <a:pt x="7594599" y="0"/>
                </a:lnTo>
                <a:lnTo>
                  <a:pt x="7594599" y="3337560"/>
                </a:lnTo>
                <a:lnTo>
                  <a:pt x="0" y="3337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831497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3" grpId="0" animBg="1"/>
      <p:bldP spid="14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2A243FB-120B-46A8-B89A-67F858F15DF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072640"/>
            <a:ext cx="2590800" cy="1947756"/>
          </a:xfrm>
          <a:custGeom>
            <a:avLst/>
            <a:gdLst>
              <a:gd name="connsiteX0" fmla="*/ 0 w 2590800"/>
              <a:gd name="connsiteY0" fmla="*/ 0 h 1947756"/>
              <a:gd name="connsiteX1" fmla="*/ 2590800 w 2590800"/>
              <a:gd name="connsiteY1" fmla="*/ 0 h 1947756"/>
              <a:gd name="connsiteX2" fmla="*/ 2590800 w 2590800"/>
              <a:gd name="connsiteY2" fmla="*/ 1947756 h 1947756"/>
              <a:gd name="connsiteX3" fmla="*/ 0 w 2590800"/>
              <a:gd name="connsiteY3" fmla="*/ 1947756 h 194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0800" h="1947756">
                <a:moveTo>
                  <a:pt x="0" y="0"/>
                </a:moveTo>
                <a:lnTo>
                  <a:pt x="2590800" y="0"/>
                </a:lnTo>
                <a:lnTo>
                  <a:pt x="2590800" y="1947756"/>
                </a:lnTo>
                <a:lnTo>
                  <a:pt x="0" y="19477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3DC5F42-3352-4EFD-9E3F-E11FD7ACF7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2590800" cy="1947756"/>
          </a:xfrm>
          <a:custGeom>
            <a:avLst/>
            <a:gdLst>
              <a:gd name="connsiteX0" fmla="*/ 0 w 2590800"/>
              <a:gd name="connsiteY0" fmla="*/ 0 h 1947756"/>
              <a:gd name="connsiteX1" fmla="*/ 2590800 w 2590800"/>
              <a:gd name="connsiteY1" fmla="*/ 0 h 1947756"/>
              <a:gd name="connsiteX2" fmla="*/ 2590800 w 2590800"/>
              <a:gd name="connsiteY2" fmla="*/ 1947756 h 1947756"/>
              <a:gd name="connsiteX3" fmla="*/ 0 w 2590800"/>
              <a:gd name="connsiteY3" fmla="*/ 1947756 h 194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0800" h="1947756">
                <a:moveTo>
                  <a:pt x="0" y="0"/>
                </a:moveTo>
                <a:lnTo>
                  <a:pt x="2590800" y="0"/>
                </a:lnTo>
                <a:lnTo>
                  <a:pt x="2590800" y="1947756"/>
                </a:lnTo>
                <a:lnTo>
                  <a:pt x="0" y="19477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72ACF34-8CBC-4A32-A1AB-A9462FB620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71850" y="700189"/>
            <a:ext cx="2590800" cy="2012531"/>
          </a:xfrm>
          <a:custGeom>
            <a:avLst/>
            <a:gdLst>
              <a:gd name="connsiteX0" fmla="*/ 0 w 2590800"/>
              <a:gd name="connsiteY0" fmla="*/ 0 h 2012531"/>
              <a:gd name="connsiteX1" fmla="*/ 2590800 w 2590800"/>
              <a:gd name="connsiteY1" fmla="*/ 0 h 2012531"/>
              <a:gd name="connsiteX2" fmla="*/ 2590800 w 2590800"/>
              <a:gd name="connsiteY2" fmla="*/ 2012531 h 2012531"/>
              <a:gd name="connsiteX3" fmla="*/ 0 w 2590800"/>
              <a:gd name="connsiteY3" fmla="*/ 2012531 h 2012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0800" h="2012531">
                <a:moveTo>
                  <a:pt x="0" y="0"/>
                </a:moveTo>
                <a:lnTo>
                  <a:pt x="2590800" y="0"/>
                </a:lnTo>
                <a:lnTo>
                  <a:pt x="2590800" y="2012531"/>
                </a:lnTo>
                <a:lnTo>
                  <a:pt x="0" y="20125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5EB5BC6-8CF7-4C98-A05E-9550BF5C52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71850" y="2837604"/>
            <a:ext cx="2590800" cy="1947756"/>
          </a:xfrm>
          <a:custGeom>
            <a:avLst/>
            <a:gdLst>
              <a:gd name="connsiteX0" fmla="*/ 0 w 2590800"/>
              <a:gd name="connsiteY0" fmla="*/ 0 h 1947756"/>
              <a:gd name="connsiteX1" fmla="*/ 2590800 w 2590800"/>
              <a:gd name="connsiteY1" fmla="*/ 0 h 1947756"/>
              <a:gd name="connsiteX2" fmla="*/ 2590800 w 2590800"/>
              <a:gd name="connsiteY2" fmla="*/ 1947756 h 1947756"/>
              <a:gd name="connsiteX3" fmla="*/ 0 w 2590800"/>
              <a:gd name="connsiteY3" fmla="*/ 1947756 h 194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0800" h="1947756">
                <a:moveTo>
                  <a:pt x="0" y="0"/>
                </a:moveTo>
                <a:lnTo>
                  <a:pt x="2590800" y="0"/>
                </a:lnTo>
                <a:lnTo>
                  <a:pt x="2590800" y="1947756"/>
                </a:lnTo>
                <a:lnTo>
                  <a:pt x="0" y="19477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1431599-29C3-48A9-BE89-E3C49E1253C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71850" y="4910244"/>
            <a:ext cx="2590800" cy="1947756"/>
          </a:xfrm>
          <a:custGeom>
            <a:avLst/>
            <a:gdLst>
              <a:gd name="connsiteX0" fmla="*/ 0 w 2590800"/>
              <a:gd name="connsiteY0" fmla="*/ 0 h 1947756"/>
              <a:gd name="connsiteX1" fmla="*/ 2590800 w 2590800"/>
              <a:gd name="connsiteY1" fmla="*/ 0 h 1947756"/>
              <a:gd name="connsiteX2" fmla="*/ 2590800 w 2590800"/>
              <a:gd name="connsiteY2" fmla="*/ 1947756 h 1947756"/>
              <a:gd name="connsiteX3" fmla="*/ 0 w 2590800"/>
              <a:gd name="connsiteY3" fmla="*/ 1947756 h 194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0800" h="1947756">
                <a:moveTo>
                  <a:pt x="0" y="0"/>
                </a:moveTo>
                <a:lnTo>
                  <a:pt x="2590800" y="0"/>
                </a:lnTo>
                <a:lnTo>
                  <a:pt x="2590800" y="1947756"/>
                </a:lnTo>
                <a:lnTo>
                  <a:pt x="0" y="19477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48034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6" grpId="0" animBg="1"/>
      <p:bldP spid="15" grpId="0" animBg="1"/>
      <p:bldP spid="14" grpId="0" animBg="1"/>
      <p:bldP spid="13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96FBDA1-6211-4B43-9854-02820AC3A5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7700" y="685800"/>
            <a:ext cx="10896600" cy="2743200"/>
          </a:xfrm>
          <a:custGeom>
            <a:avLst/>
            <a:gdLst>
              <a:gd name="connsiteX0" fmla="*/ 0 w 10896600"/>
              <a:gd name="connsiteY0" fmla="*/ 0 h 2743200"/>
              <a:gd name="connsiteX1" fmla="*/ 10896600 w 10896600"/>
              <a:gd name="connsiteY1" fmla="*/ 0 h 2743200"/>
              <a:gd name="connsiteX2" fmla="*/ 10896600 w 10896600"/>
              <a:gd name="connsiteY2" fmla="*/ 2743200 h 2743200"/>
              <a:gd name="connsiteX3" fmla="*/ 0 w 10896600"/>
              <a:gd name="connsiteY3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96600" h="2743200">
                <a:moveTo>
                  <a:pt x="0" y="0"/>
                </a:moveTo>
                <a:lnTo>
                  <a:pt x="10896600" y="0"/>
                </a:lnTo>
                <a:lnTo>
                  <a:pt x="10896600" y="2743200"/>
                </a:lnTo>
                <a:lnTo>
                  <a:pt x="0" y="2743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92847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29A4263-524D-4467-800B-3491219A61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14701 w 12192000"/>
              <a:gd name="connsiteY0" fmla="*/ 4857750 h 6858000"/>
              <a:gd name="connsiteX1" fmla="*/ 8877300 w 12192000"/>
              <a:gd name="connsiteY1" fmla="*/ 4857750 h 6858000"/>
              <a:gd name="connsiteX2" fmla="*/ 8877300 w 12192000"/>
              <a:gd name="connsiteY2" fmla="*/ 6858000 h 6858000"/>
              <a:gd name="connsiteX3" fmla="*/ 3314701 w 12192000"/>
              <a:gd name="connsiteY3" fmla="*/ 6858000 h 6858000"/>
              <a:gd name="connsiteX4" fmla="*/ 915670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156700 w 12192000"/>
              <a:gd name="connsiteY7" fmla="*/ 6858000 h 6858000"/>
              <a:gd name="connsiteX8" fmla="*/ 3314701 w 12192000"/>
              <a:gd name="connsiteY8" fmla="*/ 0 h 6858000"/>
              <a:gd name="connsiteX9" fmla="*/ 8877300 w 12192000"/>
              <a:gd name="connsiteY9" fmla="*/ 0 h 6858000"/>
              <a:gd name="connsiteX10" fmla="*/ 8877300 w 12192000"/>
              <a:gd name="connsiteY10" fmla="*/ 2000250 h 6858000"/>
              <a:gd name="connsiteX11" fmla="*/ 3314701 w 12192000"/>
              <a:gd name="connsiteY11" fmla="*/ 2000250 h 6858000"/>
              <a:gd name="connsiteX12" fmla="*/ 0 w 12192000"/>
              <a:gd name="connsiteY12" fmla="*/ 0 h 6858000"/>
              <a:gd name="connsiteX13" fmla="*/ 3035300 w 12192000"/>
              <a:gd name="connsiteY13" fmla="*/ 0 h 6858000"/>
              <a:gd name="connsiteX14" fmla="*/ 3035300 w 12192000"/>
              <a:gd name="connsiteY14" fmla="*/ 6858000 h 6858000"/>
              <a:gd name="connsiteX15" fmla="*/ 0 w 12192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3314701" y="4857750"/>
                </a:moveTo>
                <a:lnTo>
                  <a:pt x="8877300" y="4857750"/>
                </a:lnTo>
                <a:lnTo>
                  <a:pt x="8877300" y="6858000"/>
                </a:lnTo>
                <a:lnTo>
                  <a:pt x="3314701" y="6858000"/>
                </a:lnTo>
                <a:close/>
                <a:moveTo>
                  <a:pt x="91567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156700" y="6858000"/>
                </a:lnTo>
                <a:close/>
                <a:moveTo>
                  <a:pt x="3314701" y="0"/>
                </a:moveTo>
                <a:lnTo>
                  <a:pt x="8877300" y="0"/>
                </a:lnTo>
                <a:lnTo>
                  <a:pt x="8877300" y="2000250"/>
                </a:lnTo>
                <a:lnTo>
                  <a:pt x="3314701" y="2000250"/>
                </a:lnTo>
                <a:close/>
                <a:moveTo>
                  <a:pt x="0" y="0"/>
                </a:moveTo>
                <a:lnTo>
                  <a:pt x="3035300" y="0"/>
                </a:lnTo>
                <a:lnTo>
                  <a:pt x="30353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362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B903C1B-CCAC-42C1-8FD3-41F595A8D7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4288" y="685800"/>
            <a:ext cx="2715768" cy="2743200"/>
          </a:xfrm>
          <a:custGeom>
            <a:avLst/>
            <a:gdLst>
              <a:gd name="connsiteX0" fmla="*/ 0 w 2715768"/>
              <a:gd name="connsiteY0" fmla="*/ 0 h 2743200"/>
              <a:gd name="connsiteX1" fmla="*/ 2715768 w 2715768"/>
              <a:gd name="connsiteY1" fmla="*/ 0 h 2743200"/>
              <a:gd name="connsiteX2" fmla="*/ 2715768 w 2715768"/>
              <a:gd name="connsiteY2" fmla="*/ 2743200 h 2743200"/>
              <a:gd name="connsiteX3" fmla="*/ 0 w 2715768"/>
              <a:gd name="connsiteY3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768" h="2743200">
                <a:moveTo>
                  <a:pt x="0" y="0"/>
                </a:moveTo>
                <a:lnTo>
                  <a:pt x="2715768" y="0"/>
                </a:lnTo>
                <a:lnTo>
                  <a:pt x="2715768" y="2743200"/>
                </a:lnTo>
                <a:lnTo>
                  <a:pt x="0" y="2743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D8C1447-780E-488E-A1EE-FE9B13815FD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00044" y="3429000"/>
            <a:ext cx="2715768" cy="2743200"/>
          </a:xfrm>
          <a:custGeom>
            <a:avLst/>
            <a:gdLst>
              <a:gd name="connsiteX0" fmla="*/ 0 w 2715768"/>
              <a:gd name="connsiteY0" fmla="*/ 0 h 2743200"/>
              <a:gd name="connsiteX1" fmla="*/ 2715768 w 2715768"/>
              <a:gd name="connsiteY1" fmla="*/ 0 h 2743200"/>
              <a:gd name="connsiteX2" fmla="*/ 2715768 w 2715768"/>
              <a:gd name="connsiteY2" fmla="*/ 2743200 h 2743200"/>
              <a:gd name="connsiteX3" fmla="*/ 0 w 2715768"/>
              <a:gd name="connsiteY3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768" h="2743200">
                <a:moveTo>
                  <a:pt x="0" y="0"/>
                </a:moveTo>
                <a:lnTo>
                  <a:pt x="2715768" y="0"/>
                </a:lnTo>
                <a:lnTo>
                  <a:pt x="2715768" y="2743200"/>
                </a:lnTo>
                <a:lnTo>
                  <a:pt x="0" y="2743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BAE7C3C-829E-4C7C-A766-B54A07F069A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28532" y="3429000"/>
            <a:ext cx="2715768" cy="2743200"/>
          </a:xfrm>
          <a:custGeom>
            <a:avLst/>
            <a:gdLst>
              <a:gd name="connsiteX0" fmla="*/ 0 w 2715768"/>
              <a:gd name="connsiteY0" fmla="*/ 0 h 2743200"/>
              <a:gd name="connsiteX1" fmla="*/ 2715768 w 2715768"/>
              <a:gd name="connsiteY1" fmla="*/ 0 h 2743200"/>
              <a:gd name="connsiteX2" fmla="*/ 2715768 w 2715768"/>
              <a:gd name="connsiteY2" fmla="*/ 2743200 h 2743200"/>
              <a:gd name="connsiteX3" fmla="*/ 0 w 2715768"/>
              <a:gd name="connsiteY3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768" h="2743200">
                <a:moveTo>
                  <a:pt x="0" y="0"/>
                </a:moveTo>
                <a:lnTo>
                  <a:pt x="2715768" y="0"/>
                </a:lnTo>
                <a:lnTo>
                  <a:pt x="2715768" y="2743200"/>
                </a:lnTo>
                <a:lnTo>
                  <a:pt x="0" y="2743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54ACA9-28ED-47E6-83E5-485D5D4BB33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0" y="685800"/>
            <a:ext cx="2715768" cy="2743200"/>
          </a:xfrm>
          <a:custGeom>
            <a:avLst/>
            <a:gdLst>
              <a:gd name="connsiteX0" fmla="*/ 0 w 2715768"/>
              <a:gd name="connsiteY0" fmla="*/ 0 h 2743200"/>
              <a:gd name="connsiteX1" fmla="*/ 2715768 w 2715768"/>
              <a:gd name="connsiteY1" fmla="*/ 0 h 2743200"/>
              <a:gd name="connsiteX2" fmla="*/ 2715768 w 2715768"/>
              <a:gd name="connsiteY2" fmla="*/ 2743200 h 2743200"/>
              <a:gd name="connsiteX3" fmla="*/ 0 w 2715768"/>
              <a:gd name="connsiteY3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768" h="2743200">
                <a:moveTo>
                  <a:pt x="0" y="0"/>
                </a:moveTo>
                <a:lnTo>
                  <a:pt x="2715768" y="0"/>
                </a:lnTo>
                <a:lnTo>
                  <a:pt x="2715768" y="2743200"/>
                </a:lnTo>
                <a:lnTo>
                  <a:pt x="0" y="27432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5248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53CB73F-D0BF-43DE-AEA1-F9DB0C8CD4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685800"/>
            <a:ext cx="5448300" cy="5486400"/>
          </a:xfrm>
          <a:custGeom>
            <a:avLst/>
            <a:gdLst>
              <a:gd name="connsiteX0" fmla="*/ 0 w 5448300"/>
              <a:gd name="connsiteY0" fmla="*/ 0 h 5486400"/>
              <a:gd name="connsiteX1" fmla="*/ 5448300 w 5448300"/>
              <a:gd name="connsiteY1" fmla="*/ 0 h 5486400"/>
              <a:gd name="connsiteX2" fmla="*/ 5448300 w 5448300"/>
              <a:gd name="connsiteY2" fmla="*/ 5486400 h 5486400"/>
              <a:gd name="connsiteX3" fmla="*/ 0 w 544830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8300" h="5486400">
                <a:moveTo>
                  <a:pt x="0" y="0"/>
                </a:moveTo>
                <a:lnTo>
                  <a:pt x="5448300" y="0"/>
                </a:lnTo>
                <a:lnTo>
                  <a:pt x="5448300" y="5486400"/>
                </a:lnTo>
                <a:lnTo>
                  <a:pt x="0" y="5486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21867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AE6FEA-3EF3-4EDD-9AC6-655FAB9886BB}"/>
              </a:ext>
            </a:extLst>
          </p:cNvPr>
          <p:cNvSpPr/>
          <p:nvPr userDrawn="1"/>
        </p:nvSpPr>
        <p:spPr>
          <a:xfrm>
            <a:off x="6098032" y="0"/>
            <a:ext cx="30449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4DBF87-A121-435D-9AEA-328E69DF6C46}"/>
              </a:ext>
            </a:extLst>
          </p:cNvPr>
          <p:cNvSpPr/>
          <p:nvPr userDrawn="1"/>
        </p:nvSpPr>
        <p:spPr>
          <a:xfrm>
            <a:off x="0" y="0"/>
            <a:ext cx="30449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4ADDCA1-BB17-4689-B1D9-39FAEDBAAB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936099" y="762000"/>
            <a:ext cx="1466850" cy="1466850"/>
          </a:xfrm>
          <a:custGeom>
            <a:avLst/>
            <a:gdLst>
              <a:gd name="connsiteX0" fmla="*/ 733425 w 1466850"/>
              <a:gd name="connsiteY0" fmla="*/ 0 h 1466850"/>
              <a:gd name="connsiteX1" fmla="*/ 1466850 w 1466850"/>
              <a:gd name="connsiteY1" fmla="*/ 733425 h 1466850"/>
              <a:gd name="connsiteX2" fmla="*/ 733425 w 1466850"/>
              <a:gd name="connsiteY2" fmla="*/ 1466850 h 1466850"/>
              <a:gd name="connsiteX3" fmla="*/ 0 w 1466850"/>
              <a:gd name="connsiteY3" fmla="*/ 733425 h 1466850"/>
              <a:gd name="connsiteX4" fmla="*/ 733425 w 1466850"/>
              <a:gd name="connsiteY4" fmla="*/ 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1466850">
                <a:moveTo>
                  <a:pt x="733425" y="0"/>
                </a:moveTo>
                <a:cubicBezTo>
                  <a:pt x="1138484" y="0"/>
                  <a:pt x="1466850" y="328366"/>
                  <a:pt x="1466850" y="733425"/>
                </a:cubicBezTo>
                <a:cubicBezTo>
                  <a:pt x="1466850" y="1138484"/>
                  <a:pt x="1138484" y="1466850"/>
                  <a:pt x="733425" y="1466850"/>
                </a:cubicBezTo>
                <a:cubicBezTo>
                  <a:pt x="328366" y="1466850"/>
                  <a:pt x="0" y="1138484"/>
                  <a:pt x="0" y="733425"/>
                </a:cubicBezTo>
                <a:cubicBezTo>
                  <a:pt x="0" y="328366"/>
                  <a:pt x="328366" y="0"/>
                  <a:pt x="7334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90500" dist="381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1041021-51CF-4221-B053-8EE9C88EB41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887083" y="762000"/>
            <a:ext cx="1466850" cy="1466850"/>
          </a:xfrm>
          <a:custGeom>
            <a:avLst/>
            <a:gdLst>
              <a:gd name="connsiteX0" fmla="*/ 733425 w 1466850"/>
              <a:gd name="connsiteY0" fmla="*/ 0 h 1466850"/>
              <a:gd name="connsiteX1" fmla="*/ 1466850 w 1466850"/>
              <a:gd name="connsiteY1" fmla="*/ 733425 h 1466850"/>
              <a:gd name="connsiteX2" fmla="*/ 733425 w 1466850"/>
              <a:gd name="connsiteY2" fmla="*/ 1466850 h 1466850"/>
              <a:gd name="connsiteX3" fmla="*/ 0 w 1466850"/>
              <a:gd name="connsiteY3" fmla="*/ 733425 h 1466850"/>
              <a:gd name="connsiteX4" fmla="*/ 733425 w 1466850"/>
              <a:gd name="connsiteY4" fmla="*/ 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1466850">
                <a:moveTo>
                  <a:pt x="733425" y="0"/>
                </a:moveTo>
                <a:cubicBezTo>
                  <a:pt x="1138484" y="0"/>
                  <a:pt x="1466850" y="328366"/>
                  <a:pt x="1466850" y="733425"/>
                </a:cubicBezTo>
                <a:cubicBezTo>
                  <a:pt x="1466850" y="1138484"/>
                  <a:pt x="1138484" y="1466850"/>
                  <a:pt x="733425" y="1466850"/>
                </a:cubicBezTo>
                <a:cubicBezTo>
                  <a:pt x="328366" y="1466850"/>
                  <a:pt x="0" y="1138484"/>
                  <a:pt x="0" y="733425"/>
                </a:cubicBezTo>
                <a:cubicBezTo>
                  <a:pt x="0" y="328366"/>
                  <a:pt x="328366" y="0"/>
                  <a:pt x="7334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90500" dist="381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B8DAF44-227A-4A9D-B578-117B572F01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38067" y="762000"/>
            <a:ext cx="1466850" cy="1466850"/>
          </a:xfrm>
          <a:custGeom>
            <a:avLst/>
            <a:gdLst>
              <a:gd name="connsiteX0" fmla="*/ 733425 w 1466850"/>
              <a:gd name="connsiteY0" fmla="*/ 0 h 1466850"/>
              <a:gd name="connsiteX1" fmla="*/ 1466850 w 1466850"/>
              <a:gd name="connsiteY1" fmla="*/ 733425 h 1466850"/>
              <a:gd name="connsiteX2" fmla="*/ 733425 w 1466850"/>
              <a:gd name="connsiteY2" fmla="*/ 1466850 h 1466850"/>
              <a:gd name="connsiteX3" fmla="*/ 0 w 1466850"/>
              <a:gd name="connsiteY3" fmla="*/ 733425 h 1466850"/>
              <a:gd name="connsiteX4" fmla="*/ 733425 w 1466850"/>
              <a:gd name="connsiteY4" fmla="*/ 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1466850">
                <a:moveTo>
                  <a:pt x="733425" y="0"/>
                </a:moveTo>
                <a:cubicBezTo>
                  <a:pt x="1138484" y="0"/>
                  <a:pt x="1466850" y="328366"/>
                  <a:pt x="1466850" y="733425"/>
                </a:cubicBezTo>
                <a:cubicBezTo>
                  <a:pt x="1466850" y="1138484"/>
                  <a:pt x="1138484" y="1466850"/>
                  <a:pt x="733425" y="1466850"/>
                </a:cubicBezTo>
                <a:cubicBezTo>
                  <a:pt x="328366" y="1466850"/>
                  <a:pt x="0" y="1138484"/>
                  <a:pt x="0" y="733425"/>
                </a:cubicBezTo>
                <a:cubicBezTo>
                  <a:pt x="0" y="328366"/>
                  <a:pt x="328366" y="0"/>
                  <a:pt x="7334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90500" dist="381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832FA70-2FD9-4B05-961D-A54E3E2560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9051" y="762000"/>
            <a:ext cx="1466850" cy="1466850"/>
          </a:xfrm>
          <a:custGeom>
            <a:avLst/>
            <a:gdLst>
              <a:gd name="connsiteX0" fmla="*/ 733425 w 1466850"/>
              <a:gd name="connsiteY0" fmla="*/ 0 h 1466850"/>
              <a:gd name="connsiteX1" fmla="*/ 1466850 w 1466850"/>
              <a:gd name="connsiteY1" fmla="*/ 733425 h 1466850"/>
              <a:gd name="connsiteX2" fmla="*/ 733425 w 1466850"/>
              <a:gd name="connsiteY2" fmla="*/ 1466850 h 1466850"/>
              <a:gd name="connsiteX3" fmla="*/ 0 w 1466850"/>
              <a:gd name="connsiteY3" fmla="*/ 733425 h 1466850"/>
              <a:gd name="connsiteX4" fmla="*/ 733425 w 1466850"/>
              <a:gd name="connsiteY4" fmla="*/ 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850" h="1466850">
                <a:moveTo>
                  <a:pt x="733425" y="0"/>
                </a:moveTo>
                <a:cubicBezTo>
                  <a:pt x="1138484" y="0"/>
                  <a:pt x="1466850" y="328366"/>
                  <a:pt x="1466850" y="733425"/>
                </a:cubicBezTo>
                <a:cubicBezTo>
                  <a:pt x="1466850" y="1138484"/>
                  <a:pt x="1138484" y="1466850"/>
                  <a:pt x="733425" y="1466850"/>
                </a:cubicBezTo>
                <a:cubicBezTo>
                  <a:pt x="328366" y="1466850"/>
                  <a:pt x="0" y="1138484"/>
                  <a:pt x="0" y="733425"/>
                </a:cubicBezTo>
                <a:cubicBezTo>
                  <a:pt x="0" y="328366"/>
                  <a:pt x="328366" y="0"/>
                  <a:pt x="7334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90500" dist="381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655396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3" grpId="0" animBg="1"/>
      <p:bldP spid="14" grpId="0" animBg="1"/>
      <p:bldP spid="15" grpId="0" animBg="1"/>
      <p:bldP spid="16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5178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47811C2-7AA4-4B2B-887E-491E2A799CB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7700" y="4210050"/>
            <a:ext cx="1947672" cy="1943100"/>
          </a:xfrm>
          <a:custGeom>
            <a:avLst/>
            <a:gdLst>
              <a:gd name="connsiteX0" fmla="*/ 0 w 1947672"/>
              <a:gd name="connsiteY0" fmla="*/ 0 h 1943100"/>
              <a:gd name="connsiteX1" fmla="*/ 1947672 w 1947672"/>
              <a:gd name="connsiteY1" fmla="*/ 0 h 1943100"/>
              <a:gd name="connsiteX2" fmla="*/ 1947672 w 1947672"/>
              <a:gd name="connsiteY2" fmla="*/ 1943100 h 1943100"/>
              <a:gd name="connsiteX3" fmla="*/ 0 w 1947672"/>
              <a:gd name="connsiteY3" fmla="*/ 1943100 h 194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7672" h="1943100">
                <a:moveTo>
                  <a:pt x="0" y="0"/>
                </a:moveTo>
                <a:lnTo>
                  <a:pt x="1947672" y="0"/>
                </a:lnTo>
                <a:lnTo>
                  <a:pt x="1947672" y="1943100"/>
                </a:lnTo>
                <a:lnTo>
                  <a:pt x="0" y="1943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76200" dir="2700000" algn="t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3A0689-BE4A-4027-BF2E-858F0C20DD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7700" y="2060121"/>
            <a:ext cx="1947672" cy="1943100"/>
          </a:xfrm>
          <a:custGeom>
            <a:avLst/>
            <a:gdLst>
              <a:gd name="connsiteX0" fmla="*/ 0 w 1947672"/>
              <a:gd name="connsiteY0" fmla="*/ 0 h 1943100"/>
              <a:gd name="connsiteX1" fmla="*/ 1947672 w 1947672"/>
              <a:gd name="connsiteY1" fmla="*/ 0 h 1943100"/>
              <a:gd name="connsiteX2" fmla="*/ 1947672 w 1947672"/>
              <a:gd name="connsiteY2" fmla="*/ 1943100 h 1943100"/>
              <a:gd name="connsiteX3" fmla="*/ 0 w 1947672"/>
              <a:gd name="connsiteY3" fmla="*/ 1943100 h 194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7672" h="1943100">
                <a:moveTo>
                  <a:pt x="0" y="0"/>
                </a:moveTo>
                <a:lnTo>
                  <a:pt x="1947672" y="0"/>
                </a:lnTo>
                <a:lnTo>
                  <a:pt x="1947672" y="1943100"/>
                </a:lnTo>
                <a:lnTo>
                  <a:pt x="0" y="1943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76200" dir="2700000" algn="t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808D43A-2570-43E5-8329-A16258576E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10300" y="4210050"/>
            <a:ext cx="1947672" cy="1943100"/>
          </a:xfrm>
          <a:custGeom>
            <a:avLst/>
            <a:gdLst>
              <a:gd name="connsiteX0" fmla="*/ 0 w 1947672"/>
              <a:gd name="connsiteY0" fmla="*/ 0 h 1943100"/>
              <a:gd name="connsiteX1" fmla="*/ 1947672 w 1947672"/>
              <a:gd name="connsiteY1" fmla="*/ 0 h 1943100"/>
              <a:gd name="connsiteX2" fmla="*/ 1947672 w 1947672"/>
              <a:gd name="connsiteY2" fmla="*/ 1943100 h 1943100"/>
              <a:gd name="connsiteX3" fmla="*/ 0 w 1947672"/>
              <a:gd name="connsiteY3" fmla="*/ 1943100 h 194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7672" h="1943100">
                <a:moveTo>
                  <a:pt x="0" y="0"/>
                </a:moveTo>
                <a:lnTo>
                  <a:pt x="1947672" y="0"/>
                </a:lnTo>
                <a:lnTo>
                  <a:pt x="1947672" y="1943100"/>
                </a:lnTo>
                <a:lnTo>
                  <a:pt x="0" y="1943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76200" dir="2700000" algn="t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D7A50B-0F89-4C07-A0B2-E4CD2205AD3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10300" y="2060121"/>
            <a:ext cx="1947672" cy="1943100"/>
          </a:xfrm>
          <a:custGeom>
            <a:avLst/>
            <a:gdLst>
              <a:gd name="connsiteX0" fmla="*/ 0 w 1947672"/>
              <a:gd name="connsiteY0" fmla="*/ 0 h 1943100"/>
              <a:gd name="connsiteX1" fmla="*/ 1947672 w 1947672"/>
              <a:gd name="connsiteY1" fmla="*/ 0 h 1943100"/>
              <a:gd name="connsiteX2" fmla="*/ 1947672 w 1947672"/>
              <a:gd name="connsiteY2" fmla="*/ 1943100 h 1943100"/>
              <a:gd name="connsiteX3" fmla="*/ 0 w 1947672"/>
              <a:gd name="connsiteY3" fmla="*/ 1943100 h 194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7672" h="1943100">
                <a:moveTo>
                  <a:pt x="0" y="0"/>
                </a:moveTo>
                <a:lnTo>
                  <a:pt x="1947672" y="0"/>
                </a:lnTo>
                <a:lnTo>
                  <a:pt x="1947672" y="1943100"/>
                </a:lnTo>
                <a:lnTo>
                  <a:pt x="0" y="1943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76200" dir="2700000" algn="tl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762201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F599805-881C-4D6F-A7EB-D86286E91A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7700" y="685800"/>
            <a:ext cx="10896600" cy="3405946"/>
          </a:xfrm>
          <a:custGeom>
            <a:avLst/>
            <a:gdLst>
              <a:gd name="connsiteX0" fmla="*/ 0 w 10896600"/>
              <a:gd name="connsiteY0" fmla="*/ 0 h 3405946"/>
              <a:gd name="connsiteX1" fmla="*/ 10896600 w 10896600"/>
              <a:gd name="connsiteY1" fmla="*/ 0 h 3405946"/>
              <a:gd name="connsiteX2" fmla="*/ 10896600 w 10896600"/>
              <a:gd name="connsiteY2" fmla="*/ 3405946 h 3405946"/>
              <a:gd name="connsiteX3" fmla="*/ 0 w 10896600"/>
              <a:gd name="connsiteY3" fmla="*/ 3405946 h 34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96600" h="3405946">
                <a:moveTo>
                  <a:pt x="0" y="0"/>
                </a:moveTo>
                <a:lnTo>
                  <a:pt x="10896600" y="0"/>
                </a:lnTo>
                <a:lnTo>
                  <a:pt x="10896600" y="3405946"/>
                </a:lnTo>
                <a:lnTo>
                  <a:pt x="0" y="340594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442859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0E91500-5D43-4F3A-8350-F257B4E7DA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37762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55543B1-CA96-4274-903A-823D9BBCA4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1593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389245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0E91500-5D43-4F3A-8350-F257B4E7DA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37762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55543B1-CA96-4274-903A-823D9BBCA4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1593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2152D36-06C1-419E-9D67-A95F6DEF73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5427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12101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55543B1-CA96-4274-903A-823D9BBCA49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1593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2152D36-06C1-419E-9D67-A95F6DEF73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5427" y="685801"/>
            <a:ext cx="3188811" cy="2381243"/>
          </a:xfrm>
          <a:custGeom>
            <a:avLst/>
            <a:gdLst>
              <a:gd name="connsiteX0" fmla="*/ 0 w 3188811"/>
              <a:gd name="connsiteY0" fmla="*/ 0 h 2381243"/>
              <a:gd name="connsiteX1" fmla="*/ 3188811 w 3188811"/>
              <a:gd name="connsiteY1" fmla="*/ 0 h 2381243"/>
              <a:gd name="connsiteX2" fmla="*/ 3188811 w 3188811"/>
              <a:gd name="connsiteY2" fmla="*/ 2381243 h 2381243"/>
              <a:gd name="connsiteX3" fmla="*/ 0 w 3188811"/>
              <a:gd name="connsiteY3" fmla="*/ 2381243 h 2381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88811" h="2381243">
                <a:moveTo>
                  <a:pt x="0" y="0"/>
                </a:moveTo>
                <a:lnTo>
                  <a:pt x="3188811" y="0"/>
                </a:lnTo>
                <a:lnTo>
                  <a:pt x="3188811" y="2381243"/>
                </a:lnTo>
                <a:lnTo>
                  <a:pt x="0" y="23812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2379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CA9A963-A056-49C6-8934-5DF2767ACEB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43312" y="1019770"/>
            <a:ext cx="9789977" cy="1824942"/>
          </a:xfrm>
          <a:custGeom>
            <a:avLst/>
            <a:gdLst>
              <a:gd name="connsiteX0" fmla="*/ 6254375 w 9789977"/>
              <a:gd name="connsiteY0" fmla="*/ 345805 h 1824942"/>
              <a:gd name="connsiteX1" fmla="*/ 6057493 w 9789977"/>
              <a:gd name="connsiteY1" fmla="*/ 387453 h 1824942"/>
              <a:gd name="connsiteX2" fmla="*/ 5912356 w 9789977"/>
              <a:gd name="connsiteY2" fmla="*/ 503562 h 1824942"/>
              <a:gd name="connsiteX3" fmla="*/ 5821488 w 9789977"/>
              <a:gd name="connsiteY3" fmla="*/ 682775 h 1824942"/>
              <a:gd name="connsiteX4" fmla="*/ 5789936 w 9789977"/>
              <a:gd name="connsiteY4" fmla="*/ 913733 h 1824942"/>
              <a:gd name="connsiteX5" fmla="*/ 5821488 w 9789977"/>
              <a:gd name="connsiteY5" fmla="*/ 1145952 h 1824942"/>
              <a:gd name="connsiteX6" fmla="*/ 5912356 w 9789977"/>
              <a:gd name="connsiteY6" fmla="*/ 1323903 h 1824942"/>
              <a:gd name="connsiteX7" fmla="*/ 6057493 w 9789977"/>
              <a:gd name="connsiteY7" fmla="*/ 1438751 h 1824942"/>
              <a:gd name="connsiteX8" fmla="*/ 6254375 w 9789977"/>
              <a:gd name="connsiteY8" fmla="*/ 1479137 h 1824942"/>
              <a:gd name="connsiteX9" fmla="*/ 6449995 w 9789977"/>
              <a:gd name="connsiteY9" fmla="*/ 1438751 h 1824942"/>
              <a:gd name="connsiteX10" fmla="*/ 6596394 w 9789977"/>
              <a:gd name="connsiteY10" fmla="*/ 1323903 h 1824942"/>
              <a:gd name="connsiteX11" fmla="*/ 6687262 w 9789977"/>
              <a:gd name="connsiteY11" fmla="*/ 1145952 h 1824942"/>
              <a:gd name="connsiteX12" fmla="*/ 6718814 w 9789977"/>
              <a:gd name="connsiteY12" fmla="*/ 913733 h 1824942"/>
              <a:gd name="connsiteX13" fmla="*/ 6687262 w 9789977"/>
              <a:gd name="connsiteY13" fmla="*/ 680251 h 1824942"/>
              <a:gd name="connsiteX14" fmla="*/ 6596394 w 9789977"/>
              <a:gd name="connsiteY14" fmla="*/ 501038 h 1824942"/>
              <a:gd name="connsiteX15" fmla="*/ 6449995 w 9789977"/>
              <a:gd name="connsiteY15" fmla="*/ 386191 h 1824942"/>
              <a:gd name="connsiteX16" fmla="*/ 6254375 w 9789977"/>
              <a:gd name="connsiteY16" fmla="*/ 345805 h 1824942"/>
              <a:gd name="connsiteX17" fmla="*/ 8341129 w 9789977"/>
              <a:gd name="connsiteY17" fmla="*/ 40385 h 1824942"/>
              <a:gd name="connsiteX18" fmla="*/ 9789977 w 9789977"/>
              <a:gd name="connsiteY18" fmla="*/ 40385 h 1824942"/>
              <a:gd name="connsiteX19" fmla="*/ 9789977 w 9789977"/>
              <a:gd name="connsiteY19" fmla="*/ 376094 h 1824942"/>
              <a:gd name="connsiteX20" fmla="*/ 9262435 w 9789977"/>
              <a:gd name="connsiteY20" fmla="*/ 376094 h 1824942"/>
              <a:gd name="connsiteX21" fmla="*/ 9262435 w 9789977"/>
              <a:gd name="connsiteY21" fmla="*/ 1789604 h 1824942"/>
              <a:gd name="connsiteX22" fmla="*/ 8868671 w 9789977"/>
              <a:gd name="connsiteY22" fmla="*/ 1789604 h 1824942"/>
              <a:gd name="connsiteX23" fmla="*/ 8868671 w 9789977"/>
              <a:gd name="connsiteY23" fmla="*/ 376094 h 1824942"/>
              <a:gd name="connsiteX24" fmla="*/ 8341129 w 9789977"/>
              <a:gd name="connsiteY24" fmla="*/ 376094 h 1824942"/>
              <a:gd name="connsiteX25" fmla="*/ 2299098 w 9789977"/>
              <a:gd name="connsiteY25" fmla="*/ 40385 h 1824942"/>
              <a:gd name="connsiteX26" fmla="*/ 2725675 w 9789977"/>
              <a:gd name="connsiteY26" fmla="*/ 40385 h 1824942"/>
              <a:gd name="connsiteX27" fmla="*/ 2781482 w 9789977"/>
              <a:gd name="connsiteY27" fmla="*/ 349591 h 1824942"/>
              <a:gd name="connsiteX28" fmla="*/ 2844901 w 9789977"/>
              <a:gd name="connsiteY28" fmla="*/ 671417 h 1824942"/>
              <a:gd name="connsiteX29" fmla="*/ 2912125 w 9789977"/>
              <a:gd name="connsiteY29" fmla="*/ 984408 h 1824942"/>
              <a:gd name="connsiteX30" fmla="*/ 2981874 w 9789977"/>
              <a:gd name="connsiteY30" fmla="*/ 1264586 h 1824942"/>
              <a:gd name="connsiteX31" fmla="*/ 3070376 w 9789977"/>
              <a:gd name="connsiteY31" fmla="*/ 1002077 h 1824942"/>
              <a:gd name="connsiteX32" fmla="*/ 3153830 w 9789977"/>
              <a:gd name="connsiteY32" fmla="*/ 724423 h 1824942"/>
              <a:gd name="connsiteX33" fmla="*/ 3228430 w 9789977"/>
              <a:gd name="connsiteY33" fmla="*/ 456866 h 1824942"/>
              <a:gd name="connsiteX34" fmla="*/ 3290369 w 9789977"/>
              <a:gd name="connsiteY34" fmla="*/ 227171 h 1824942"/>
              <a:gd name="connsiteX35" fmla="*/ 3626039 w 9789977"/>
              <a:gd name="connsiteY35" fmla="*/ 227171 h 1824942"/>
              <a:gd name="connsiteX36" fmla="*/ 3692829 w 9789977"/>
              <a:gd name="connsiteY36" fmla="*/ 460652 h 1824942"/>
              <a:gd name="connsiteX37" fmla="*/ 3770939 w 9789977"/>
              <a:gd name="connsiteY37" fmla="*/ 729472 h 1824942"/>
              <a:gd name="connsiteX38" fmla="*/ 3855359 w 9789977"/>
              <a:gd name="connsiteY38" fmla="*/ 1007125 h 1824942"/>
              <a:gd name="connsiteX39" fmla="*/ 3938517 w 9789977"/>
              <a:gd name="connsiteY39" fmla="*/ 1264586 h 1824942"/>
              <a:gd name="connsiteX40" fmla="*/ 4005722 w 9789977"/>
              <a:gd name="connsiteY40" fmla="*/ 984408 h 1824942"/>
              <a:gd name="connsiteX41" fmla="*/ 4070383 w 9789977"/>
              <a:gd name="connsiteY41" fmla="*/ 671417 h 1824942"/>
              <a:gd name="connsiteX42" fmla="*/ 4129976 w 9789977"/>
              <a:gd name="connsiteY42" fmla="*/ 349591 h 1824942"/>
              <a:gd name="connsiteX43" fmla="*/ 4184501 w 9789977"/>
              <a:gd name="connsiteY43" fmla="*/ 40385 h 1824942"/>
              <a:gd name="connsiteX44" fmla="*/ 4593528 w 9789977"/>
              <a:gd name="connsiteY44" fmla="*/ 40385 h 1824942"/>
              <a:gd name="connsiteX45" fmla="*/ 4389133 w 9789977"/>
              <a:gd name="connsiteY45" fmla="*/ 931402 h 1824942"/>
              <a:gd name="connsiteX46" fmla="*/ 4139028 w 9789977"/>
              <a:gd name="connsiteY46" fmla="*/ 1789604 h 1824942"/>
              <a:gd name="connsiteX47" fmla="*/ 3778867 w 9789977"/>
              <a:gd name="connsiteY47" fmla="*/ 1789604 h 1824942"/>
              <a:gd name="connsiteX48" fmla="*/ 3607542 w 9789977"/>
              <a:gd name="connsiteY48" fmla="*/ 1280993 h 1824942"/>
              <a:gd name="connsiteX49" fmla="*/ 3443789 w 9789977"/>
              <a:gd name="connsiteY49" fmla="*/ 747141 h 1824942"/>
              <a:gd name="connsiteX50" fmla="*/ 3282067 w 9789977"/>
              <a:gd name="connsiteY50" fmla="*/ 1280993 h 1824942"/>
              <a:gd name="connsiteX51" fmla="*/ 3112734 w 9789977"/>
              <a:gd name="connsiteY51" fmla="*/ 1789604 h 1824942"/>
              <a:gd name="connsiteX52" fmla="*/ 2752849 w 9789977"/>
              <a:gd name="connsiteY52" fmla="*/ 1789604 h 1824942"/>
              <a:gd name="connsiteX53" fmla="*/ 2503158 w 9789977"/>
              <a:gd name="connsiteY53" fmla="*/ 931402 h 1824942"/>
              <a:gd name="connsiteX54" fmla="*/ 2299098 w 9789977"/>
              <a:gd name="connsiteY54" fmla="*/ 40385 h 1824942"/>
              <a:gd name="connsiteX55" fmla="*/ 6254375 w 9789977"/>
              <a:gd name="connsiteY55" fmla="*/ 0 h 1824942"/>
              <a:gd name="connsiteX56" fmla="*/ 6592608 w 9789977"/>
              <a:gd name="connsiteY56" fmla="*/ 58054 h 1824942"/>
              <a:gd name="connsiteX57" fmla="*/ 6870262 w 9789977"/>
              <a:gd name="connsiteY57" fmla="*/ 232219 h 1824942"/>
              <a:gd name="connsiteX58" fmla="*/ 7057047 w 9789977"/>
              <a:gd name="connsiteY58" fmla="*/ 518707 h 1824942"/>
              <a:gd name="connsiteX59" fmla="*/ 7125198 w 9789977"/>
              <a:gd name="connsiteY59" fmla="*/ 913733 h 1824942"/>
              <a:gd name="connsiteX60" fmla="*/ 7058309 w 9789977"/>
              <a:gd name="connsiteY60" fmla="*/ 1308758 h 1824942"/>
              <a:gd name="connsiteX61" fmla="*/ 6875310 w 9789977"/>
              <a:gd name="connsiteY61" fmla="*/ 1593985 h 1824942"/>
              <a:gd name="connsiteX62" fmla="*/ 6598918 w 9789977"/>
              <a:gd name="connsiteY62" fmla="*/ 1766887 h 1824942"/>
              <a:gd name="connsiteX63" fmla="*/ 6254375 w 9789977"/>
              <a:gd name="connsiteY63" fmla="*/ 1824942 h 1824942"/>
              <a:gd name="connsiteX64" fmla="*/ 5916142 w 9789977"/>
              <a:gd name="connsiteY64" fmla="*/ 1766887 h 1824942"/>
              <a:gd name="connsiteX65" fmla="*/ 5638489 w 9789977"/>
              <a:gd name="connsiteY65" fmla="*/ 1593985 h 1824942"/>
              <a:gd name="connsiteX66" fmla="*/ 5451703 w 9789977"/>
              <a:gd name="connsiteY66" fmla="*/ 1308758 h 1824942"/>
              <a:gd name="connsiteX67" fmla="*/ 5383552 w 9789977"/>
              <a:gd name="connsiteY67" fmla="*/ 913733 h 1824942"/>
              <a:gd name="connsiteX68" fmla="*/ 5454228 w 9789977"/>
              <a:gd name="connsiteY68" fmla="*/ 518707 h 1824942"/>
              <a:gd name="connsiteX69" fmla="*/ 5644799 w 9789977"/>
              <a:gd name="connsiteY69" fmla="*/ 232219 h 1824942"/>
              <a:gd name="connsiteX70" fmla="*/ 5922453 w 9789977"/>
              <a:gd name="connsiteY70" fmla="*/ 58054 h 1824942"/>
              <a:gd name="connsiteX71" fmla="*/ 6254375 w 9789977"/>
              <a:gd name="connsiteY71" fmla="*/ 0 h 1824942"/>
              <a:gd name="connsiteX72" fmla="*/ 673941 w 9789977"/>
              <a:gd name="connsiteY72" fmla="*/ 0 h 1824942"/>
              <a:gd name="connsiteX73" fmla="*/ 979360 w 9789977"/>
              <a:gd name="connsiteY73" fmla="*/ 37861 h 1824942"/>
              <a:gd name="connsiteX74" fmla="*/ 1191387 w 9789977"/>
              <a:gd name="connsiteY74" fmla="*/ 121158 h 1824942"/>
              <a:gd name="connsiteX75" fmla="*/ 1077801 w 9789977"/>
              <a:gd name="connsiteY75" fmla="*/ 431625 h 1824942"/>
              <a:gd name="connsiteX76" fmla="*/ 914995 w 9789977"/>
              <a:gd name="connsiteY76" fmla="*/ 364736 h 1824942"/>
              <a:gd name="connsiteX77" fmla="*/ 699181 w 9789977"/>
              <a:gd name="connsiteY77" fmla="*/ 335708 h 1824942"/>
              <a:gd name="connsiteX78" fmla="*/ 495990 w 9789977"/>
              <a:gd name="connsiteY78" fmla="*/ 374832 h 1824942"/>
              <a:gd name="connsiteX79" fmla="*/ 434149 w 9789977"/>
              <a:gd name="connsiteY79" fmla="*/ 494728 h 1824942"/>
              <a:gd name="connsiteX80" fmla="*/ 456865 w 9789977"/>
              <a:gd name="connsiteY80" fmla="*/ 575500 h 1824942"/>
              <a:gd name="connsiteX81" fmla="*/ 521230 w 9789977"/>
              <a:gd name="connsiteY81" fmla="*/ 634817 h 1824942"/>
              <a:gd name="connsiteX82" fmla="*/ 617148 w 9789977"/>
              <a:gd name="connsiteY82" fmla="*/ 682775 h 1824942"/>
              <a:gd name="connsiteX83" fmla="*/ 737044 w 9789977"/>
              <a:gd name="connsiteY83" fmla="*/ 726948 h 1824942"/>
              <a:gd name="connsiteX84" fmla="*/ 974312 w 9789977"/>
              <a:gd name="connsiteY84" fmla="*/ 826650 h 1824942"/>
              <a:gd name="connsiteX85" fmla="*/ 1142166 w 9789977"/>
              <a:gd name="connsiteY85" fmla="*/ 941498 h 1824942"/>
              <a:gd name="connsiteX86" fmla="*/ 1241869 w 9789977"/>
              <a:gd name="connsiteY86" fmla="*/ 1095470 h 1824942"/>
              <a:gd name="connsiteX87" fmla="*/ 1274683 w 9789977"/>
              <a:gd name="connsiteY87" fmla="*/ 1310020 h 1824942"/>
              <a:gd name="connsiteX88" fmla="*/ 1103042 w 9789977"/>
              <a:gd name="connsiteY88" fmla="*/ 1689901 h 1824942"/>
              <a:gd name="connsiteX89" fmla="*/ 585597 w 9789977"/>
              <a:gd name="connsiteY89" fmla="*/ 1824942 h 1824942"/>
              <a:gd name="connsiteX90" fmla="*/ 376093 w 9789977"/>
              <a:gd name="connsiteY90" fmla="*/ 1811059 h 1824942"/>
              <a:gd name="connsiteX91" fmla="*/ 210763 w 9789977"/>
              <a:gd name="connsiteY91" fmla="*/ 1776984 h 1824942"/>
              <a:gd name="connsiteX92" fmla="*/ 87081 w 9789977"/>
              <a:gd name="connsiteY92" fmla="*/ 1734073 h 1824942"/>
              <a:gd name="connsiteX93" fmla="*/ 0 w 9789977"/>
              <a:gd name="connsiteY93" fmla="*/ 1691163 h 1824942"/>
              <a:gd name="connsiteX94" fmla="*/ 111061 w 9789977"/>
              <a:gd name="connsiteY94" fmla="*/ 1378172 h 1824942"/>
              <a:gd name="connsiteX95" fmla="*/ 304157 w 9789977"/>
              <a:gd name="connsiteY95" fmla="*/ 1455158 h 1824942"/>
              <a:gd name="connsiteX96" fmla="*/ 585597 w 9789977"/>
              <a:gd name="connsiteY96" fmla="*/ 1489233 h 1824942"/>
              <a:gd name="connsiteX97" fmla="*/ 723162 w 9789977"/>
              <a:gd name="connsiteY97" fmla="*/ 1475351 h 1824942"/>
              <a:gd name="connsiteX98" fmla="*/ 810244 w 9789977"/>
              <a:gd name="connsiteY98" fmla="*/ 1437489 h 1824942"/>
              <a:gd name="connsiteX99" fmla="*/ 855678 w 9789977"/>
              <a:gd name="connsiteY99" fmla="*/ 1380696 h 1824942"/>
              <a:gd name="connsiteX100" fmla="*/ 868299 w 9789977"/>
              <a:gd name="connsiteY100" fmla="*/ 1307496 h 1824942"/>
              <a:gd name="connsiteX101" fmla="*/ 787526 w 9789977"/>
              <a:gd name="connsiteY101" fmla="*/ 1164883 h 1824942"/>
              <a:gd name="connsiteX102" fmla="*/ 509873 w 9789977"/>
              <a:gd name="connsiteY102" fmla="*/ 1042463 h 1824942"/>
              <a:gd name="connsiteX103" fmla="*/ 338232 w 9789977"/>
              <a:gd name="connsiteY103" fmla="*/ 973050 h 1824942"/>
              <a:gd name="connsiteX104" fmla="*/ 184260 w 9789977"/>
              <a:gd name="connsiteY104" fmla="*/ 874609 h 1824942"/>
              <a:gd name="connsiteX105" fmla="*/ 73198 w 9789977"/>
              <a:gd name="connsiteY105" fmla="*/ 730734 h 1824942"/>
              <a:gd name="connsiteX106" fmla="*/ 30288 w 9789977"/>
              <a:gd name="connsiteY106" fmla="*/ 525017 h 1824942"/>
              <a:gd name="connsiteX107" fmla="*/ 75723 w 9789977"/>
              <a:gd name="connsiteY107" fmla="*/ 306681 h 1824942"/>
              <a:gd name="connsiteX108" fmla="*/ 204453 w 9789977"/>
              <a:gd name="connsiteY108" fmla="*/ 141350 h 1824942"/>
              <a:gd name="connsiteX109" fmla="*/ 406384 w 9789977"/>
              <a:gd name="connsiteY109" fmla="*/ 36599 h 1824942"/>
              <a:gd name="connsiteX110" fmla="*/ 673941 w 9789977"/>
              <a:gd name="connsiteY110" fmla="*/ 0 h 1824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9789977" h="1824942">
                <a:moveTo>
                  <a:pt x="6254375" y="345805"/>
                </a:moveTo>
                <a:cubicBezTo>
                  <a:pt x="6180334" y="345805"/>
                  <a:pt x="6114707" y="359687"/>
                  <a:pt x="6057493" y="387453"/>
                </a:cubicBezTo>
                <a:cubicBezTo>
                  <a:pt x="6000280" y="415218"/>
                  <a:pt x="5951901" y="453921"/>
                  <a:pt x="5912356" y="503562"/>
                </a:cubicBezTo>
                <a:cubicBezTo>
                  <a:pt x="5872812" y="553204"/>
                  <a:pt x="5842522" y="612941"/>
                  <a:pt x="5821488" y="682775"/>
                </a:cubicBezTo>
                <a:cubicBezTo>
                  <a:pt x="5800453" y="752609"/>
                  <a:pt x="5789936" y="829595"/>
                  <a:pt x="5789936" y="913733"/>
                </a:cubicBezTo>
                <a:cubicBezTo>
                  <a:pt x="5789936" y="999553"/>
                  <a:pt x="5800453" y="1076959"/>
                  <a:pt x="5821488" y="1145952"/>
                </a:cubicBezTo>
                <a:cubicBezTo>
                  <a:pt x="5842522" y="1214945"/>
                  <a:pt x="5872812" y="1274262"/>
                  <a:pt x="5912356" y="1323903"/>
                </a:cubicBezTo>
                <a:cubicBezTo>
                  <a:pt x="5951901" y="1373544"/>
                  <a:pt x="6000280" y="1411827"/>
                  <a:pt x="6057493" y="1438751"/>
                </a:cubicBezTo>
                <a:cubicBezTo>
                  <a:pt x="6114707" y="1465675"/>
                  <a:pt x="6180334" y="1479137"/>
                  <a:pt x="6254375" y="1479137"/>
                </a:cubicBezTo>
                <a:cubicBezTo>
                  <a:pt x="6326733" y="1479137"/>
                  <a:pt x="6391940" y="1465675"/>
                  <a:pt x="6449995" y="1438751"/>
                </a:cubicBezTo>
                <a:cubicBezTo>
                  <a:pt x="6508050" y="1411827"/>
                  <a:pt x="6556849" y="1373544"/>
                  <a:pt x="6596394" y="1323903"/>
                </a:cubicBezTo>
                <a:cubicBezTo>
                  <a:pt x="6635939" y="1274262"/>
                  <a:pt x="6666228" y="1214945"/>
                  <a:pt x="6687262" y="1145952"/>
                </a:cubicBezTo>
                <a:cubicBezTo>
                  <a:pt x="6708297" y="1076959"/>
                  <a:pt x="6718814" y="999553"/>
                  <a:pt x="6718814" y="913733"/>
                </a:cubicBezTo>
                <a:cubicBezTo>
                  <a:pt x="6718814" y="827913"/>
                  <a:pt x="6708297" y="750085"/>
                  <a:pt x="6687262" y="680251"/>
                </a:cubicBezTo>
                <a:cubicBezTo>
                  <a:pt x="6666228" y="610417"/>
                  <a:pt x="6635939" y="550679"/>
                  <a:pt x="6596394" y="501038"/>
                </a:cubicBezTo>
                <a:cubicBezTo>
                  <a:pt x="6556849" y="451397"/>
                  <a:pt x="6508050" y="413115"/>
                  <a:pt x="6449995" y="386191"/>
                </a:cubicBezTo>
                <a:cubicBezTo>
                  <a:pt x="6391940" y="359267"/>
                  <a:pt x="6326733" y="345805"/>
                  <a:pt x="6254375" y="345805"/>
                </a:cubicBezTo>
                <a:close/>
                <a:moveTo>
                  <a:pt x="8341129" y="40385"/>
                </a:moveTo>
                <a:lnTo>
                  <a:pt x="9789977" y="40385"/>
                </a:lnTo>
                <a:lnTo>
                  <a:pt x="9789977" y="376094"/>
                </a:lnTo>
                <a:lnTo>
                  <a:pt x="9262435" y="376094"/>
                </a:lnTo>
                <a:lnTo>
                  <a:pt x="9262435" y="1789604"/>
                </a:lnTo>
                <a:lnTo>
                  <a:pt x="8868671" y="1789604"/>
                </a:lnTo>
                <a:lnTo>
                  <a:pt x="8868671" y="376094"/>
                </a:lnTo>
                <a:lnTo>
                  <a:pt x="8341129" y="376094"/>
                </a:lnTo>
                <a:close/>
                <a:moveTo>
                  <a:pt x="2299098" y="40385"/>
                </a:moveTo>
                <a:lnTo>
                  <a:pt x="2725675" y="40385"/>
                </a:lnTo>
                <a:cubicBezTo>
                  <a:pt x="2742582" y="139668"/>
                  <a:pt x="2761184" y="242736"/>
                  <a:pt x="2781482" y="349591"/>
                </a:cubicBezTo>
                <a:cubicBezTo>
                  <a:pt x="2801780" y="456445"/>
                  <a:pt x="2822920" y="563721"/>
                  <a:pt x="2844901" y="671417"/>
                </a:cubicBezTo>
                <a:cubicBezTo>
                  <a:pt x="2866882" y="779113"/>
                  <a:pt x="2889290" y="883443"/>
                  <a:pt x="2912125" y="984408"/>
                </a:cubicBezTo>
                <a:cubicBezTo>
                  <a:pt x="2934961" y="1085373"/>
                  <a:pt x="2958210" y="1178766"/>
                  <a:pt x="2981874" y="1264586"/>
                </a:cubicBezTo>
                <a:cubicBezTo>
                  <a:pt x="3012216" y="1182131"/>
                  <a:pt x="3041717" y="1094628"/>
                  <a:pt x="3070376" y="1002077"/>
                </a:cubicBezTo>
                <a:cubicBezTo>
                  <a:pt x="3099036" y="909526"/>
                  <a:pt x="3126853" y="816975"/>
                  <a:pt x="3153830" y="724423"/>
                </a:cubicBezTo>
                <a:cubicBezTo>
                  <a:pt x="3180807" y="631872"/>
                  <a:pt x="3205673" y="542686"/>
                  <a:pt x="3228430" y="456866"/>
                </a:cubicBezTo>
                <a:cubicBezTo>
                  <a:pt x="3251186" y="371046"/>
                  <a:pt x="3271833" y="294481"/>
                  <a:pt x="3290369" y="227171"/>
                </a:cubicBezTo>
                <a:lnTo>
                  <a:pt x="3626039" y="227171"/>
                </a:lnTo>
                <a:cubicBezTo>
                  <a:pt x="3646205" y="296163"/>
                  <a:pt x="3668469" y="373991"/>
                  <a:pt x="3692829" y="460652"/>
                </a:cubicBezTo>
                <a:cubicBezTo>
                  <a:pt x="3717190" y="547314"/>
                  <a:pt x="3743226" y="636920"/>
                  <a:pt x="3770939" y="729472"/>
                </a:cubicBezTo>
                <a:cubicBezTo>
                  <a:pt x="3798652" y="822023"/>
                  <a:pt x="3826792" y="914574"/>
                  <a:pt x="3855359" y="1007125"/>
                </a:cubicBezTo>
                <a:cubicBezTo>
                  <a:pt x="3883927" y="1099677"/>
                  <a:pt x="3911646" y="1185497"/>
                  <a:pt x="3938517" y="1264586"/>
                </a:cubicBezTo>
                <a:cubicBezTo>
                  <a:pt x="3960498" y="1178766"/>
                  <a:pt x="3982900" y="1085373"/>
                  <a:pt x="4005722" y="984408"/>
                </a:cubicBezTo>
                <a:cubicBezTo>
                  <a:pt x="4028545" y="883443"/>
                  <a:pt x="4050098" y="779113"/>
                  <a:pt x="4070383" y="671417"/>
                </a:cubicBezTo>
                <a:cubicBezTo>
                  <a:pt x="4090668" y="563721"/>
                  <a:pt x="4110533" y="456445"/>
                  <a:pt x="4129976" y="349591"/>
                </a:cubicBezTo>
                <a:cubicBezTo>
                  <a:pt x="4149420" y="242736"/>
                  <a:pt x="4167595" y="139668"/>
                  <a:pt x="4184501" y="40385"/>
                </a:cubicBezTo>
                <a:lnTo>
                  <a:pt x="4593528" y="40385"/>
                </a:lnTo>
                <a:cubicBezTo>
                  <a:pt x="4534290" y="333184"/>
                  <a:pt x="4466158" y="630189"/>
                  <a:pt x="4389133" y="931402"/>
                </a:cubicBezTo>
                <a:cubicBezTo>
                  <a:pt x="4312108" y="1232614"/>
                  <a:pt x="4228739" y="1518681"/>
                  <a:pt x="4139028" y="1789604"/>
                </a:cubicBezTo>
                <a:lnTo>
                  <a:pt x="3778867" y="1789604"/>
                </a:lnTo>
                <a:cubicBezTo>
                  <a:pt x="3720075" y="1628060"/>
                  <a:pt x="3662967" y="1458523"/>
                  <a:pt x="3607542" y="1280993"/>
                </a:cubicBezTo>
                <a:cubicBezTo>
                  <a:pt x="3552116" y="1103463"/>
                  <a:pt x="3497532" y="925512"/>
                  <a:pt x="3443789" y="747141"/>
                </a:cubicBezTo>
                <a:cubicBezTo>
                  <a:pt x="3389888" y="925512"/>
                  <a:pt x="3335981" y="1103463"/>
                  <a:pt x="3282067" y="1280993"/>
                </a:cubicBezTo>
                <a:cubicBezTo>
                  <a:pt x="3228154" y="1458523"/>
                  <a:pt x="3171709" y="1628060"/>
                  <a:pt x="3112734" y="1789604"/>
                </a:cubicBezTo>
                <a:lnTo>
                  <a:pt x="2752849" y="1789604"/>
                </a:lnTo>
                <a:cubicBezTo>
                  <a:pt x="2663269" y="1518681"/>
                  <a:pt x="2580039" y="1232614"/>
                  <a:pt x="2503158" y="931402"/>
                </a:cubicBezTo>
                <a:cubicBezTo>
                  <a:pt x="2426277" y="630189"/>
                  <a:pt x="2358257" y="333184"/>
                  <a:pt x="2299098" y="40385"/>
                </a:cubicBezTo>
                <a:close/>
                <a:moveTo>
                  <a:pt x="6254375" y="0"/>
                </a:moveTo>
                <a:cubicBezTo>
                  <a:pt x="6373850" y="0"/>
                  <a:pt x="6486594" y="19351"/>
                  <a:pt x="6592608" y="58054"/>
                </a:cubicBezTo>
                <a:cubicBezTo>
                  <a:pt x="6698621" y="96758"/>
                  <a:pt x="6791172" y="154812"/>
                  <a:pt x="6870262" y="232219"/>
                </a:cubicBezTo>
                <a:cubicBezTo>
                  <a:pt x="6949351" y="309626"/>
                  <a:pt x="7011613" y="405122"/>
                  <a:pt x="7057047" y="518707"/>
                </a:cubicBezTo>
                <a:cubicBezTo>
                  <a:pt x="7102481" y="632293"/>
                  <a:pt x="7125198" y="763968"/>
                  <a:pt x="7125198" y="913733"/>
                </a:cubicBezTo>
                <a:cubicBezTo>
                  <a:pt x="7125198" y="1063498"/>
                  <a:pt x="7102902" y="1195173"/>
                  <a:pt x="7058309" y="1308758"/>
                </a:cubicBezTo>
                <a:cubicBezTo>
                  <a:pt x="7013716" y="1422344"/>
                  <a:pt x="6952716" y="1517419"/>
                  <a:pt x="6875310" y="1593985"/>
                </a:cubicBezTo>
                <a:cubicBezTo>
                  <a:pt x="6797903" y="1670550"/>
                  <a:pt x="6705773" y="1728184"/>
                  <a:pt x="6598918" y="1766887"/>
                </a:cubicBezTo>
                <a:cubicBezTo>
                  <a:pt x="6492063" y="1805590"/>
                  <a:pt x="6377216" y="1824942"/>
                  <a:pt x="6254375" y="1824942"/>
                </a:cubicBezTo>
                <a:cubicBezTo>
                  <a:pt x="6134900" y="1824942"/>
                  <a:pt x="6022156" y="1805590"/>
                  <a:pt x="5916142" y="1766887"/>
                </a:cubicBezTo>
                <a:cubicBezTo>
                  <a:pt x="5810129" y="1728184"/>
                  <a:pt x="5717578" y="1670550"/>
                  <a:pt x="5638489" y="1593985"/>
                </a:cubicBezTo>
                <a:cubicBezTo>
                  <a:pt x="5559399" y="1517419"/>
                  <a:pt x="5497138" y="1422344"/>
                  <a:pt x="5451703" y="1308758"/>
                </a:cubicBezTo>
                <a:cubicBezTo>
                  <a:pt x="5406269" y="1195173"/>
                  <a:pt x="5383552" y="1063498"/>
                  <a:pt x="5383552" y="913733"/>
                </a:cubicBezTo>
                <a:cubicBezTo>
                  <a:pt x="5383552" y="763968"/>
                  <a:pt x="5407111" y="632293"/>
                  <a:pt x="5454228" y="518707"/>
                </a:cubicBezTo>
                <a:cubicBezTo>
                  <a:pt x="5501345" y="405122"/>
                  <a:pt x="5564868" y="309626"/>
                  <a:pt x="5644799" y="232219"/>
                </a:cubicBezTo>
                <a:cubicBezTo>
                  <a:pt x="5724730" y="154812"/>
                  <a:pt x="5817281" y="96758"/>
                  <a:pt x="5922453" y="58054"/>
                </a:cubicBezTo>
                <a:cubicBezTo>
                  <a:pt x="6027625" y="19351"/>
                  <a:pt x="6138265" y="0"/>
                  <a:pt x="6254375" y="0"/>
                </a:cubicBezTo>
                <a:close/>
                <a:moveTo>
                  <a:pt x="673941" y="0"/>
                </a:moveTo>
                <a:cubicBezTo>
                  <a:pt x="791734" y="0"/>
                  <a:pt x="893540" y="12620"/>
                  <a:pt x="979360" y="37861"/>
                </a:cubicBezTo>
                <a:cubicBezTo>
                  <a:pt x="1065181" y="63103"/>
                  <a:pt x="1135856" y="90868"/>
                  <a:pt x="1191387" y="121158"/>
                </a:cubicBezTo>
                <a:lnTo>
                  <a:pt x="1077801" y="431625"/>
                </a:lnTo>
                <a:cubicBezTo>
                  <a:pt x="1029001" y="406384"/>
                  <a:pt x="974733" y="384087"/>
                  <a:pt x="914995" y="364736"/>
                </a:cubicBezTo>
                <a:cubicBezTo>
                  <a:pt x="855257" y="345384"/>
                  <a:pt x="783320" y="335708"/>
                  <a:pt x="699181" y="335708"/>
                </a:cubicBezTo>
                <a:cubicBezTo>
                  <a:pt x="604948" y="335708"/>
                  <a:pt x="537218" y="348749"/>
                  <a:pt x="495990" y="374832"/>
                </a:cubicBezTo>
                <a:cubicBezTo>
                  <a:pt x="454763" y="400915"/>
                  <a:pt x="434149" y="440880"/>
                  <a:pt x="434149" y="494728"/>
                </a:cubicBezTo>
                <a:cubicBezTo>
                  <a:pt x="434149" y="526700"/>
                  <a:pt x="441721" y="553624"/>
                  <a:pt x="456865" y="575500"/>
                </a:cubicBezTo>
                <a:cubicBezTo>
                  <a:pt x="472010" y="597376"/>
                  <a:pt x="493465" y="617148"/>
                  <a:pt x="521230" y="634817"/>
                </a:cubicBezTo>
                <a:cubicBezTo>
                  <a:pt x="548997" y="652486"/>
                  <a:pt x="580968" y="668472"/>
                  <a:pt x="617148" y="682775"/>
                </a:cubicBezTo>
                <a:cubicBezTo>
                  <a:pt x="653327" y="697079"/>
                  <a:pt x="693293" y="711803"/>
                  <a:pt x="737044" y="726948"/>
                </a:cubicBezTo>
                <a:cubicBezTo>
                  <a:pt x="827912" y="760603"/>
                  <a:pt x="907002" y="793837"/>
                  <a:pt x="974312" y="826650"/>
                </a:cubicBezTo>
                <a:cubicBezTo>
                  <a:pt x="1041622" y="859464"/>
                  <a:pt x="1097573" y="897746"/>
                  <a:pt x="1142166" y="941498"/>
                </a:cubicBezTo>
                <a:cubicBezTo>
                  <a:pt x="1186759" y="985250"/>
                  <a:pt x="1219993" y="1036574"/>
                  <a:pt x="1241869" y="1095470"/>
                </a:cubicBezTo>
                <a:cubicBezTo>
                  <a:pt x="1263745" y="1154366"/>
                  <a:pt x="1274683" y="1225883"/>
                  <a:pt x="1274683" y="1310020"/>
                </a:cubicBezTo>
                <a:cubicBezTo>
                  <a:pt x="1274683" y="1473247"/>
                  <a:pt x="1217469" y="1599874"/>
                  <a:pt x="1103042" y="1689901"/>
                </a:cubicBezTo>
                <a:cubicBezTo>
                  <a:pt x="988615" y="1779928"/>
                  <a:pt x="816133" y="1824942"/>
                  <a:pt x="585597" y="1824942"/>
                </a:cubicBezTo>
                <a:cubicBezTo>
                  <a:pt x="508190" y="1824942"/>
                  <a:pt x="438355" y="1820314"/>
                  <a:pt x="376093" y="1811059"/>
                </a:cubicBezTo>
                <a:cubicBezTo>
                  <a:pt x="313832" y="1801804"/>
                  <a:pt x="258722" y="1790446"/>
                  <a:pt x="210763" y="1776984"/>
                </a:cubicBezTo>
                <a:cubicBezTo>
                  <a:pt x="162805" y="1763522"/>
                  <a:pt x="121577" y="1749218"/>
                  <a:pt x="87081" y="1734073"/>
                </a:cubicBezTo>
                <a:cubicBezTo>
                  <a:pt x="52585" y="1718929"/>
                  <a:pt x="23557" y="1704625"/>
                  <a:pt x="0" y="1691163"/>
                </a:cubicBezTo>
                <a:lnTo>
                  <a:pt x="111061" y="1378172"/>
                </a:lnTo>
                <a:cubicBezTo>
                  <a:pt x="163225" y="1406779"/>
                  <a:pt x="227592" y="1432440"/>
                  <a:pt x="304157" y="1455158"/>
                </a:cubicBezTo>
                <a:cubicBezTo>
                  <a:pt x="380721" y="1477875"/>
                  <a:pt x="474535" y="1489233"/>
                  <a:pt x="585597" y="1489233"/>
                </a:cubicBezTo>
                <a:cubicBezTo>
                  <a:pt x="641127" y="1489233"/>
                  <a:pt x="686982" y="1484606"/>
                  <a:pt x="723162" y="1475351"/>
                </a:cubicBezTo>
                <a:cubicBezTo>
                  <a:pt x="759340" y="1466096"/>
                  <a:pt x="788368" y="1453475"/>
                  <a:pt x="810244" y="1437489"/>
                </a:cubicBezTo>
                <a:cubicBezTo>
                  <a:pt x="832120" y="1421503"/>
                  <a:pt x="847264" y="1402572"/>
                  <a:pt x="855678" y="1380696"/>
                </a:cubicBezTo>
                <a:cubicBezTo>
                  <a:pt x="864092" y="1358820"/>
                  <a:pt x="868299" y="1334420"/>
                  <a:pt x="868299" y="1307496"/>
                </a:cubicBezTo>
                <a:cubicBezTo>
                  <a:pt x="868299" y="1250283"/>
                  <a:pt x="841374" y="1202745"/>
                  <a:pt x="787526" y="1164883"/>
                </a:cubicBezTo>
                <a:cubicBezTo>
                  <a:pt x="733679" y="1127021"/>
                  <a:pt x="641127" y="1086215"/>
                  <a:pt x="509873" y="1042463"/>
                </a:cubicBezTo>
                <a:cubicBezTo>
                  <a:pt x="452658" y="1022270"/>
                  <a:pt x="395445" y="999132"/>
                  <a:pt x="338232" y="973050"/>
                </a:cubicBezTo>
                <a:cubicBezTo>
                  <a:pt x="281019" y="946967"/>
                  <a:pt x="229694" y="914153"/>
                  <a:pt x="184260" y="874609"/>
                </a:cubicBezTo>
                <a:cubicBezTo>
                  <a:pt x="138827" y="835064"/>
                  <a:pt x="101805" y="787106"/>
                  <a:pt x="73198" y="730734"/>
                </a:cubicBezTo>
                <a:cubicBezTo>
                  <a:pt x="44592" y="674362"/>
                  <a:pt x="30288" y="605789"/>
                  <a:pt x="30288" y="525017"/>
                </a:cubicBezTo>
                <a:cubicBezTo>
                  <a:pt x="30288" y="444246"/>
                  <a:pt x="45433" y="371467"/>
                  <a:pt x="75723" y="306681"/>
                </a:cubicBezTo>
                <a:cubicBezTo>
                  <a:pt x="106012" y="241895"/>
                  <a:pt x="148922" y="186785"/>
                  <a:pt x="204453" y="141350"/>
                </a:cubicBezTo>
                <a:cubicBezTo>
                  <a:pt x="259985" y="95916"/>
                  <a:pt x="327294" y="60999"/>
                  <a:pt x="406384" y="36599"/>
                </a:cubicBezTo>
                <a:cubicBezTo>
                  <a:pt x="485472" y="12199"/>
                  <a:pt x="574658" y="0"/>
                  <a:pt x="67394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546100" dist="381000" dir="2700000" algn="tl" rotWithShape="0">
              <a:prstClr val="black">
                <a:alpha val="2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727621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C1EB7A-4253-43B6-9F0A-E7C67AA5828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3690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177258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C0DF062-8590-4447-A1DF-2DBB342589E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737271" y="3547111"/>
            <a:ext cx="1828800" cy="2606040"/>
          </a:xfrm>
          <a:custGeom>
            <a:avLst/>
            <a:gdLst>
              <a:gd name="connsiteX0" fmla="*/ 0 w 1828800"/>
              <a:gd name="connsiteY0" fmla="*/ 0 h 2606040"/>
              <a:gd name="connsiteX1" fmla="*/ 1828800 w 1828800"/>
              <a:gd name="connsiteY1" fmla="*/ 0 h 2606040"/>
              <a:gd name="connsiteX2" fmla="*/ 1828800 w 1828800"/>
              <a:gd name="connsiteY2" fmla="*/ 2606040 h 2606040"/>
              <a:gd name="connsiteX3" fmla="*/ 0 w 1828800"/>
              <a:gd name="connsiteY3" fmla="*/ 2606040 h 260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2606040">
                <a:moveTo>
                  <a:pt x="0" y="0"/>
                </a:moveTo>
                <a:lnTo>
                  <a:pt x="1828800" y="0"/>
                </a:lnTo>
                <a:lnTo>
                  <a:pt x="1828800" y="2606040"/>
                </a:lnTo>
                <a:lnTo>
                  <a:pt x="0" y="26060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38100" dir="10800000" algn="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04B690F-DF02-45F9-9F96-92528DC46BE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37271" y="704849"/>
            <a:ext cx="1828800" cy="2606040"/>
          </a:xfrm>
          <a:custGeom>
            <a:avLst/>
            <a:gdLst>
              <a:gd name="connsiteX0" fmla="*/ 0 w 1828800"/>
              <a:gd name="connsiteY0" fmla="*/ 0 h 2606040"/>
              <a:gd name="connsiteX1" fmla="*/ 1828800 w 1828800"/>
              <a:gd name="connsiteY1" fmla="*/ 0 h 2606040"/>
              <a:gd name="connsiteX2" fmla="*/ 1828800 w 1828800"/>
              <a:gd name="connsiteY2" fmla="*/ 2606040 h 2606040"/>
              <a:gd name="connsiteX3" fmla="*/ 0 w 1828800"/>
              <a:gd name="connsiteY3" fmla="*/ 2606040 h 260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2606040">
                <a:moveTo>
                  <a:pt x="0" y="0"/>
                </a:moveTo>
                <a:lnTo>
                  <a:pt x="1828800" y="0"/>
                </a:lnTo>
                <a:lnTo>
                  <a:pt x="1828800" y="2606040"/>
                </a:lnTo>
                <a:lnTo>
                  <a:pt x="0" y="26060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38100" dir="10800000" algn="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89CB29B-984A-4C39-8401-D5972EA0F2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22421" y="3547111"/>
            <a:ext cx="1828800" cy="2606040"/>
          </a:xfrm>
          <a:custGeom>
            <a:avLst/>
            <a:gdLst>
              <a:gd name="connsiteX0" fmla="*/ 0 w 1828800"/>
              <a:gd name="connsiteY0" fmla="*/ 0 h 2606040"/>
              <a:gd name="connsiteX1" fmla="*/ 1828800 w 1828800"/>
              <a:gd name="connsiteY1" fmla="*/ 0 h 2606040"/>
              <a:gd name="connsiteX2" fmla="*/ 1828800 w 1828800"/>
              <a:gd name="connsiteY2" fmla="*/ 2606040 h 2606040"/>
              <a:gd name="connsiteX3" fmla="*/ 0 w 1828800"/>
              <a:gd name="connsiteY3" fmla="*/ 2606040 h 260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2606040">
                <a:moveTo>
                  <a:pt x="0" y="0"/>
                </a:moveTo>
                <a:lnTo>
                  <a:pt x="1828800" y="0"/>
                </a:lnTo>
                <a:lnTo>
                  <a:pt x="1828800" y="2606040"/>
                </a:lnTo>
                <a:lnTo>
                  <a:pt x="0" y="26060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38100" dir="10800000" algn="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8957CF8-0403-4738-9431-634BBCAC727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122421" y="704849"/>
            <a:ext cx="1828800" cy="2606040"/>
          </a:xfrm>
          <a:custGeom>
            <a:avLst/>
            <a:gdLst>
              <a:gd name="connsiteX0" fmla="*/ 0 w 1828800"/>
              <a:gd name="connsiteY0" fmla="*/ 0 h 2606040"/>
              <a:gd name="connsiteX1" fmla="*/ 1828800 w 1828800"/>
              <a:gd name="connsiteY1" fmla="*/ 0 h 2606040"/>
              <a:gd name="connsiteX2" fmla="*/ 1828800 w 1828800"/>
              <a:gd name="connsiteY2" fmla="*/ 2606040 h 2606040"/>
              <a:gd name="connsiteX3" fmla="*/ 0 w 1828800"/>
              <a:gd name="connsiteY3" fmla="*/ 2606040 h 2606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2606040">
                <a:moveTo>
                  <a:pt x="0" y="0"/>
                </a:moveTo>
                <a:lnTo>
                  <a:pt x="1828800" y="0"/>
                </a:lnTo>
                <a:lnTo>
                  <a:pt x="1828800" y="2606040"/>
                </a:lnTo>
                <a:lnTo>
                  <a:pt x="0" y="26060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317500" dist="38100" dir="10800000" algn="r" rotWithShape="0">
              <a:prstClr val="black">
                <a:alpha val="1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26389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11" grpId="0" animBg="1"/>
      <p:bldP spid="9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20BA9F1-F6B3-4A00-9FEE-C744CCEB9C9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7848600" cy="6858000"/>
          </a:xfrm>
          <a:custGeom>
            <a:avLst/>
            <a:gdLst>
              <a:gd name="connsiteX0" fmla="*/ 0 w 7848600"/>
              <a:gd name="connsiteY0" fmla="*/ 0 h 6858000"/>
              <a:gd name="connsiteX1" fmla="*/ 7848600 w 7848600"/>
              <a:gd name="connsiteY1" fmla="*/ 0 h 6858000"/>
              <a:gd name="connsiteX2" fmla="*/ 7848600 w 7848600"/>
              <a:gd name="connsiteY2" fmla="*/ 6858000 h 6858000"/>
              <a:gd name="connsiteX3" fmla="*/ 0 w 78486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48600" h="6858000">
                <a:moveTo>
                  <a:pt x="0" y="0"/>
                </a:moveTo>
                <a:lnTo>
                  <a:pt x="7848600" y="0"/>
                </a:lnTo>
                <a:lnTo>
                  <a:pt x="7848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1145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7FC192-13F0-4F46-9477-FB340E2B45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037" y="1098222"/>
            <a:ext cx="4067118" cy="4739512"/>
          </a:xfrm>
          <a:prstGeom prst="rect">
            <a:avLst/>
          </a:prstGeom>
        </p:spPr>
      </p:pic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DD917135-6B2C-4343-BC5B-5C56AFE782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 rot="19779171">
            <a:off x="7239767" y="1409874"/>
            <a:ext cx="2057321" cy="3474218"/>
          </a:xfrm>
          <a:custGeom>
            <a:avLst/>
            <a:gdLst>
              <a:gd name="connsiteX0" fmla="*/ 0 w 3282950"/>
              <a:gd name="connsiteY0" fmla="*/ 0 h 5377790"/>
              <a:gd name="connsiteX1" fmla="*/ 3282950 w 3282950"/>
              <a:gd name="connsiteY1" fmla="*/ 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0 w 3282950"/>
              <a:gd name="connsiteY0" fmla="*/ 0 h 5377790"/>
              <a:gd name="connsiteX1" fmla="*/ 3151272 w 3282950"/>
              <a:gd name="connsiteY1" fmla="*/ 2382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131678 w 3282950"/>
              <a:gd name="connsiteY0" fmla="*/ 0 h 5401610"/>
              <a:gd name="connsiteX1" fmla="*/ 3151272 w 3282950"/>
              <a:gd name="connsiteY1" fmla="*/ 47640 h 5401610"/>
              <a:gd name="connsiteX2" fmla="*/ 3282950 w 3282950"/>
              <a:gd name="connsiteY2" fmla="*/ 5401610 h 5401610"/>
              <a:gd name="connsiteX3" fmla="*/ 0 w 3282950"/>
              <a:gd name="connsiteY3" fmla="*/ 5401610 h 5401610"/>
              <a:gd name="connsiteX4" fmla="*/ 131678 w 3282950"/>
              <a:gd name="connsiteY4" fmla="*/ 0 h 5401610"/>
              <a:gd name="connsiteX0" fmla="*/ 99922 w 3282950"/>
              <a:gd name="connsiteY0" fmla="*/ 0 h 5437861"/>
              <a:gd name="connsiteX1" fmla="*/ 3151272 w 3282950"/>
              <a:gd name="connsiteY1" fmla="*/ 8389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6144 w 3282950"/>
              <a:gd name="connsiteY1" fmla="*/ 98645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47422 w 3282950"/>
              <a:gd name="connsiteY1" fmla="*/ 90467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41247"/>
              <a:gd name="connsiteY0" fmla="*/ 0 h 5448765"/>
              <a:gd name="connsiteX1" fmla="*/ 3118870 w 3241247"/>
              <a:gd name="connsiteY1" fmla="*/ 109071 h 5448765"/>
              <a:gd name="connsiteX2" fmla="*/ 3241247 w 3241247"/>
              <a:gd name="connsiteY2" fmla="*/ 5448765 h 5448765"/>
              <a:gd name="connsiteX3" fmla="*/ 0 w 3241247"/>
              <a:gd name="connsiteY3" fmla="*/ 5437861 h 5448765"/>
              <a:gd name="connsiteX4" fmla="*/ 99922 w 3241247"/>
              <a:gd name="connsiteY4" fmla="*/ 0 h 5448765"/>
              <a:gd name="connsiteX0" fmla="*/ 85256 w 3226581"/>
              <a:gd name="connsiteY0" fmla="*/ 0 h 5448765"/>
              <a:gd name="connsiteX1" fmla="*/ 3104204 w 3226581"/>
              <a:gd name="connsiteY1" fmla="*/ 109071 h 5448765"/>
              <a:gd name="connsiteX2" fmla="*/ 3226581 w 3226581"/>
              <a:gd name="connsiteY2" fmla="*/ 5448765 h 5448765"/>
              <a:gd name="connsiteX3" fmla="*/ 0 w 3226581"/>
              <a:gd name="connsiteY3" fmla="*/ 5412810 h 5448765"/>
              <a:gd name="connsiteX4" fmla="*/ 85256 w 3226581"/>
              <a:gd name="connsiteY4" fmla="*/ 0 h 5448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6581" h="5448765">
                <a:moveTo>
                  <a:pt x="85256" y="0"/>
                </a:moveTo>
                <a:lnTo>
                  <a:pt x="3104204" y="109071"/>
                </a:lnTo>
                <a:cubicBezTo>
                  <a:pt x="3111220" y="126767"/>
                  <a:pt x="3171888" y="3672502"/>
                  <a:pt x="3226581" y="5448765"/>
                </a:cubicBezTo>
                <a:lnTo>
                  <a:pt x="0" y="5412810"/>
                </a:lnTo>
                <a:lnTo>
                  <a:pt x="8525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27000">
              <a:prstClr val="black"/>
            </a:innerShdw>
          </a:effectLst>
          <a:scene3d>
            <a:camera prst="perspectiveRelaxedModerately" fov="2400000">
              <a:rot lat="21004674" lon="20981195" rev="25907"/>
            </a:camera>
            <a:lightRig rig="threePt" dir="t"/>
          </a:scene3d>
          <a:sp3d prstMaterial="matte"/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id-ID" dirty="0"/>
              <a:t>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E9E54CB-AEC8-4A40-BC87-65BBE65668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 rot="19779171">
            <a:off x="5095035" y="1306954"/>
            <a:ext cx="2063798" cy="3485156"/>
          </a:xfrm>
          <a:custGeom>
            <a:avLst/>
            <a:gdLst>
              <a:gd name="connsiteX0" fmla="*/ 0 w 3282950"/>
              <a:gd name="connsiteY0" fmla="*/ 0 h 5377790"/>
              <a:gd name="connsiteX1" fmla="*/ 3282950 w 3282950"/>
              <a:gd name="connsiteY1" fmla="*/ 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0 w 3282950"/>
              <a:gd name="connsiteY0" fmla="*/ 0 h 5377790"/>
              <a:gd name="connsiteX1" fmla="*/ 3151272 w 3282950"/>
              <a:gd name="connsiteY1" fmla="*/ 2382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131678 w 3282950"/>
              <a:gd name="connsiteY0" fmla="*/ 0 h 5401610"/>
              <a:gd name="connsiteX1" fmla="*/ 3151272 w 3282950"/>
              <a:gd name="connsiteY1" fmla="*/ 47640 h 5401610"/>
              <a:gd name="connsiteX2" fmla="*/ 3282950 w 3282950"/>
              <a:gd name="connsiteY2" fmla="*/ 5401610 h 5401610"/>
              <a:gd name="connsiteX3" fmla="*/ 0 w 3282950"/>
              <a:gd name="connsiteY3" fmla="*/ 5401610 h 5401610"/>
              <a:gd name="connsiteX4" fmla="*/ 131678 w 3282950"/>
              <a:gd name="connsiteY4" fmla="*/ 0 h 5401610"/>
              <a:gd name="connsiteX0" fmla="*/ 99922 w 3282950"/>
              <a:gd name="connsiteY0" fmla="*/ 0 h 5437861"/>
              <a:gd name="connsiteX1" fmla="*/ 3151272 w 3282950"/>
              <a:gd name="connsiteY1" fmla="*/ 8389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6144 w 3282950"/>
              <a:gd name="connsiteY1" fmla="*/ 98645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47422 w 3282950"/>
              <a:gd name="connsiteY1" fmla="*/ 90467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41247"/>
              <a:gd name="connsiteY0" fmla="*/ 0 h 5448765"/>
              <a:gd name="connsiteX1" fmla="*/ 3118870 w 3241247"/>
              <a:gd name="connsiteY1" fmla="*/ 109071 h 5448765"/>
              <a:gd name="connsiteX2" fmla="*/ 3241247 w 3241247"/>
              <a:gd name="connsiteY2" fmla="*/ 5448765 h 5448765"/>
              <a:gd name="connsiteX3" fmla="*/ 0 w 3241247"/>
              <a:gd name="connsiteY3" fmla="*/ 5437861 h 5448765"/>
              <a:gd name="connsiteX4" fmla="*/ 99922 w 3241247"/>
              <a:gd name="connsiteY4" fmla="*/ 0 h 5448765"/>
              <a:gd name="connsiteX0" fmla="*/ 85256 w 3226581"/>
              <a:gd name="connsiteY0" fmla="*/ 0 h 5448765"/>
              <a:gd name="connsiteX1" fmla="*/ 3104204 w 3226581"/>
              <a:gd name="connsiteY1" fmla="*/ 109071 h 5448765"/>
              <a:gd name="connsiteX2" fmla="*/ 3226581 w 3226581"/>
              <a:gd name="connsiteY2" fmla="*/ 5448765 h 5448765"/>
              <a:gd name="connsiteX3" fmla="*/ 0 w 3226581"/>
              <a:gd name="connsiteY3" fmla="*/ 5412810 h 5448765"/>
              <a:gd name="connsiteX4" fmla="*/ 85256 w 3226581"/>
              <a:gd name="connsiteY4" fmla="*/ 0 h 5448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6581" h="5448765">
                <a:moveTo>
                  <a:pt x="85256" y="0"/>
                </a:moveTo>
                <a:lnTo>
                  <a:pt x="3104204" y="109071"/>
                </a:lnTo>
                <a:cubicBezTo>
                  <a:pt x="3111220" y="126767"/>
                  <a:pt x="3171888" y="3672502"/>
                  <a:pt x="3226581" y="5448765"/>
                </a:cubicBezTo>
                <a:lnTo>
                  <a:pt x="0" y="5412810"/>
                </a:lnTo>
                <a:lnTo>
                  <a:pt x="8525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outerShdw blurRad="1270000" dist="1574800" dir="1800000" sx="85000" sy="85000" algn="tl" rotWithShape="0">
              <a:prstClr val="black">
                <a:alpha val="20000"/>
              </a:prstClr>
            </a:outerShdw>
          </a:effectLst>
          <a:scene3d>
            <a:camera prst="perspectiveRelaxedModerately" fov="2400000">
              <a:rot lat="21004674" lon="20981195" rev="25907"/>
            </a:camera>
            <a:lightRig rig="threePt" dir="t"/>
          </a:scene3d>
          <a:sp3d prstMaterial="matte"/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Add Picture</a:t>
            </a:r>
            <a:endParaRPr lang="id-ID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03A4D44-6FDC-4039-B394-CA706A91A8E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 rot="19779171">
            <a:off x="9628359" y="1686422"/>
            <a:ext cx="2063798" cy="3485156"/>
          </a:xfrm>
          <a:custGeom>
            <a:avLst/>
            <a:gdLst>
              <a:gd name="connsiteX0" fmla="*/ 0 w 3282950"/>
              <a:gd name="connsiteY0" fmla="*/ 0 h 5377790"/>
              <a:gd name="connsiteX1" fmla="*/ 3282950 w 3282950"/>
              <a:gd name="connsiteY1" fmla="*/ 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0 w 3282950"/>
              <a:gd name="connsiteY0" fmla="*/ 0 h 5377790"/>
              <a:gd name="connsiteX1" fmla="*/ 3151272 w 3282950"/>
              <a:gd name="connsiteY1" fmla="*/ 23820 h 5377790"/>
              <a:gd name="connsiteX2" fmla="*/ 3282950 w 3282950"/>
              <a:gd name="connsiteY2" fmla="*/ 5377790 h 5377790"/>
              <a:gd name="connsiteX3" fmla="*/ 0 w 3282950"/>
              <a:gd name="connsiteY3" fmla="*/ 5377790 h 5377790"/>
              <a:gd name="connsiteX4" fmla="*/ 0 w 3282950"/>
              <a:gd name="connsiteY4" fmla="*/ 0 h 5377790"/>
              <a:gd name="connsiteX0" fmla="*/ 131678 w 3282950"/>
              <a:gd name="connsiteY0" fmla="*/ 0 h 5401610"/>
              <a:gd name="connsiteX1" fmla="*/ 3151272 w 3282950"/>
              <a:gd name="connsiteY1" fmla="*/ 47640 h 5401610"/>
              <a:gd name="connsiteX2" fmla="*/ 3282950 w 3282950"/>
              <a:gd name="connsiteY2" fmla="*/ 5401610 h 5401610"/>
              <a:gd name="connsiteX3" fmla="*/ 0 w 3282950"/>
              <a:gd name="connsiteY3" fmla="*/ 5401610 h 5401610"/>
              <a:gd name="connsiteX4" fmla="*/ 131678 w 3282950"/>
              <a:gd name="connsiteY4" fmla="*/ 0 h 5401610"/>
              <a:gd name="connsiteX0" fmla="*/ 99922 w 3282950"/>
              <a:gd name="connsiteY0" fmla="*/ 0 h 5437861"/>
              <a:gd name="connsiteX1" fmla="*/ 3151272 w 3282950"/>
              <a:gd name="connsiteY1" fmla="*/ 8389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6144 w 3282950"/>
              <a:gd name="connsiteY1" fmla="*/ 98645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47422 w 3282950"/>
              <a:gd name="connsiteY1" fmla="*/ 90467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82950"/>
              <a:gd name="connsiteY0" fmla="*/ 0 h 5437861"/>
              <a:gd name="connsiteX1" fmla="*/ 3118870 w 3282950"/>
              <a:gd name="connsiteY1" fmla="*/ 109071 h 5437861"/>
              <a:gd name="connsiteX2" fmla="*/ 3282950 w 3282950"/>
              <a:gd name="connsiteY2" fmla="*/ 5437861 h 5437861"/>
              <a:gd name="connsiteX3" fmla="*/ 0 w 3282950"/>
              <a:gd name="connsiteY3" fmla="*/ 5437861 h 5437861"/>
              <a:gd name="connsiteX4" fmla="*/ 99922 w 3282950"/>
              <a:gd name="connsiteY4" fmla="*/ 0 h 5437861"/>
              <a:gd name="connsiteX0" fmla="*/ 99922 w 3241247"/>
              <a:gd name="connsiteY0" fmla="*/ 0 h 5448765"/>
              <a:gd name="connsiteX1" fmla="*/ 3118870 w 3241247"/>
              <a:gd name="connsiteY1" fmla="*/ 109071 h 5448765"/>
              <a:gd name="connsiteX2" fmla="*/ 3241247 w 3241247"/>
              <a:gd name="connsiteY2" fmla="*/ 5448765 h 5448765"/>
              <a:gd name="connsiteX3" fmla="*/ 0 w 3241247"/>
              <a:gd name="connsiteY3" fmla="*/ 5437861 h 5448765"/>
              <a:gd name="connsiteX4" fmla="*/ 99922 w 3241247"/>
              <a:gd name="connsiteY4" fmla="*/ 0 h 5448765"/>
              <a:gd name="connsiteX0" fmla="*/ 85256 w 3226581"/>
              <a:gd name="connsiteY0" fmla="*/ 0 h 5448765"/>
              <a:gd name="connsiteX1" fmla="*/ 3104204 w 3226581"/>
              <a:gd name="connsiteY1" fmla="*/ 109071 h 5448765"/>
              <a:gd name="connsiteX2" fmla="*/ 3226581 w 3226581"/>
              <a:gd name="connsiteY2" fmla="*/ 5448765 h 5448765"/>
              <a:gd name="connsiteX3" fmla="*/ 0 w 3226581"/>
              <a:gd name="connsiteY3" fmla="*/ 5412810 h 5448765"/>
              <a:gd name="connsiteX4" fmla="*/ 85256 w 3226581"/>
              <a:gd name="connsiteY4" fmla="*/ 0 h 5448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6581" h="5448765">
                <a:moveTo>
                  <a:pt x="85256" y="0"/>
                </a:moveTo>
                <a:lnTo>
                  <a:pt x="3104204" y="109071"/>
                </a:lnTo>
                <a:cubicBezTo>
                  <a:pt x="3111220" y="126767"/>
                  <a:pt x="3171888" y="3672502"/>
                  <a:pt x="3226581" y="5448765"/>
                </a:cubicBezTo>
                <a:lnTo>
                  <a:pt x="0" y="5412810"/>
                </a:lnTo>
                <a:lnTo>
                  <a:pt x="8525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outerShdw blurRad="1270000" dist="1574800" dir="5580000" sx="85000" sy="85000" algn="tl" rotWithShape="0">
              <a:prstClr val="black">
                <a:alpha val="20000"/>
              </a:prstClr>
            </a:outerShdw>
          </a:effectLst>
          <a:scene3d>
            <a:camera prst="perspectiveRelaxedModerately" fov="2400000">
              <a:rot lat="21004674" lon="20981195" rev="25907"/>
            </a:camera>
            <a:lightRig rig="threePt" dir="t"/>
          </a:scene3d>
          <a:sp3d prstMaterial="matte"/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id-ID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173074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>
            <a:extLst>
              <a:ext uri="{FF2B5EF4-FFF2-40B4-BE49-F238E27FC236}">
                <a16:creationId xmlns:a16="http://schemas.microsoft.com/office/drawing/2014/main" id="{8FD8D14E-F944-4F31-9D6A-3CCA745EE33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444940" y="1731100"/>
            <a:ext cx="1872384" cy="332061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190500">
              <a:prstClr val="black">
                <a:alpha val="3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063069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FBF669-CBE6-42FA-BA06-A8EC33CAE2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00000">
            <a:off x="7909066" y="2456713"/>
            <a:ext cx="2058604" cy="4016736"/>
          </a:xfrm>
          <a:prstGeom prst="rect">
            <a:avLst/>
          </a:prstGeom>
          <a:effectLst>
            <a:outerShdw blurRad="1270000" dist="444500" dir="3900000" algn="t" rotWithShape="0">
              <a:prstClr val="black">
                <a:alpha val="15000"/>
              </a:prstClr>
            </a:outerShdw>
          </a:effectLst>
        </p:spPr>
      </p:pic>
      <p:sp>
        <p:nvSpPr>
          <p:cNvPr id="4" name="Picture Placeholder 17">
            <a:extLst>
              <a:ext uri="{FF2B5EF4-FFF2-40B4-BE49-F238E27FC236}">
                <a16:creationId xmlns:a16="http://schemas.microsoft.com/office/drawing/2014/main" id="{8FD8D14E-F944-4F31-9D6A-3CCA745EE33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 rot="900000">
            <a:off x="8087514" y="2937575"/>
            <a:ext cx="1701708" cy="3017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190500">
              <a:prstClr val="black">
                <a:alpha val="3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Add Pi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7B43F8-0F23-469F-B1D3-505D770EF2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00000">
            <a:off x="2224331" y="2456714"/>
            <a:ext cx="2058604" cy="4016736"/>
          </a:xfrm>
          <a:prstGeom prst="rect">
            <a:avLst/>
          </a:prstGeom>
          <a:effectLst>
            <a:outerShdw blurRad="1270000" dist="444500" dir="6960000" algn="t" rotWithShape="0">
              <a:prstClr val="black">
                <a:alpha val="15000"/>
              </a:prstClr>
            </a:outerShdw>
          </a:effectLst>
        </p:spPr>
      </p:pic>
      <p:sp>
        <p:nvSpPr>
          <p:cNvPr id="6" name="Picture Placeholder 17">
            <a:extLst>
              <a:ext uri="{FF2B5EF4-FFF2-40B4-BE49-F238E27FC236}">
                <a16:creationId xmlns:a16="http://schemas.microsoft.com/office/drawing/2014/main" id="{EE741120-A601-4EA8-8821-39821A6B7300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700000">
            <a:off x="2402779" y="2937576"/>
            <a:ext cx="1701708" cy="3017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190500">
              <a:prstClr val="black">
                <a:alpha val="3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8DE1E3-2D9A-4271-8F1D-0805B070A6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6699" y="2018563"/>
            <a:ext cx="2058604" cy="4016736"/>
          </a:xfrm>
          <a:prstGeom prst="rect">
            <a:avLst/>
          </a:prstGeom>
          <a:effectLst>
            <a:outerShdw blurRad="1270000" dist="444500" dir="4680000" algn="t" rotWithShape="0">
              <a:prstClr val="black">
                <a:alpha val="10000"/>
              </a:prstClr>
            </a:outerShdw>
          </a:effectLst>
        </p:spPr>
      </p:pic>
      <p:sp>
        <p:nvSpPr>
          <p:cNvPr id="8" name="Picture Placeholder 17">
            <a:extLst>
              <a:ext uri="{FF2B5EF4-FFF2-40B4-BE49-F238E27FC236}">
                <a16:creationId xmlns:a16="http://schemas.microsoft.com/office/drawing/2014/main" id="{8D7B144C-07E8-4277-BF1B-AFBA9543374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245147" y="2480375"/>
            <a:ext cx="1701708" cy="3017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190500">
              <a:prstClr val="black">
                <a:alpha val="30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90437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76B391-3652-4E6E-A44C-D8C87FA639E9}"/>
              </a:ext>
            </a:extLst>
          </p:cNvPr>
          <p:cNvSpPr/>
          <p:nvPr userDrawn="1"/>
        </p:nvSpPr>
        <p:spPr>
          <a:xfrm>
            <a:off x="667905" y="685800"/>
            <a:ext cx="6380595" cy="5486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462EBD90-79DF-417E-84E8-7160036848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8400" y="1877970"/>
            <a:ext cx="4552950" cy="2857500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1143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628871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196057E-1BF6-46A5-98E6-EF6E14F44E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06" y="2735937"/>
            <a:ext cx="5197366" cy="2910126"/>
          </a:xfrm>
          <a:prstGeom prst="rect">
            <a:avLst/>
          </a:prstGeom>
          <a:effectLst>
            <a:outerShdw blurRad="1270000" dist="1028700" dir="7380000" algn="tl" rotWithShape="0">
              <a:prstClr val="black">
                <a:alpha val="20000"/>
              </a:prstClr>
            </a:outerShdw>
          </a:effectLst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462EBD90-79DF-417E-84E8-7160036848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82281" y="2929062"/>
            <a:ext cx="3631710" cy="2279316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1143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72AEA46-AFB9-4BCD-BF12-719BB82667A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17842" y="1201299"/>
            <a:ext cx="3631710" cy="2279316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876300" dist="533400" dir="8100000" algn="tr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415B494-FF27-4537-9BB2-F0F73C103D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406672" y="3218154"/>
            <a:ext cx="3631710" cy="2279316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dist="127000" dir="13080000" algn="tr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902077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729B967-0930-4D4A-BA5E-EB8DFA608A03}"/>
              </a:ext>
            </a:extLst>
          </p:cNvPr>
          <p:cNvSpPr/>
          <p:nvPr userDrawn="1"/>
        </p:nvSpPr>
        <p:spPr>
          <a:xfrm>
            <a:off x="6096000" y="685800"/>
            <a:ext cx="5468112" cy="5486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96057E-1BF6-46A5-98E6-EF6E14F44E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286" y="905124"/>
            <a:ext cx="4507540" cy="2523876"/>
          </a:xfrm>
          <a:prstGeom prst="rect">
            <a:avLst/>
          </a:prstGeom>
          <a:effectLst>
            <a:outerShdw blurRad="1270000" dist="1028700" dir="9120000" algn="tl" rotWithShape="0">
              <a:prstClr val="black">
                <a:alpha val="15000"/>
              </a:prstClr>
            </a:outerShdw>
          </a:effectLst>
        </p:spPr>
      </p:pic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462EBD90-79DF-417E-84E8-7160036848C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255212" y="1094486"/>
            <a:ext cx="3149688" cy="1976792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1143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7A8CB6-CE1B-4432-B214-B29FF2D5FC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986" y="905124"/>
            <a:ext cx="4507540" cy="2523876"/>
          </a:xfrm>
          <a:prstGeom prst="rect">
            <a:avLst/>
          </a:prstGeom>
          <a:effectLst>
            <a:outerShdw blurRad="1270000" dist="1028700" dir="9120000" algn="tl" rotWithShape="0">
              <a:prstClr val="black">
                <a:alpha val="15000"/>
              </a:prstClr>
            </a:outerShdw>
          </a:effectLst>
        </p:spPr>
      </p:pic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4F5E2570-A507-4F41-9EF8-6C9C8721B2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806912" y="1094486"/>
            <a:ext cx="3149688" cy="1976792"/>
          </a:xfrm>
          <a:custGeom>
            <a:avLst/>
            <a:gdLst>
              <a:gd name="connsiteX0" fmla="*/ 0 w 4552950"/>
              <a:gd name="connsiteY0" fmla="*/ 0 h 2857500"/>
              <a:gd name="connsiteX1" fmla="*/ 4552950 w 4552950"/>
              <a:gd name="connsiteY1" fmla="*/ 0 h 2857500"/>
              <a:gd name="connsiteX2" fmla="*/ 4552950 w 4552950"/>
              <a:gd name="connsiteY2" fmla="*/ 2857500 h 2857500"/>
              <a:gd name="connsiteX3" fmla="*/ 0 w 4552950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2950" h="2857500">
                <a:moveTo>
                  <a:pt x="0" y="0"/>
                </a:moveTo>
                <a:lnTo>
                  <a:pt x="4552950" y="0"/>
                </a:lnTo>
                <a:lnTo>
                  <a:pt x="455295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1143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2400">
                <a:latin typeface="+mn-lt"/>
              </a:defRPr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048486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" grpId="0" animBg="1"/>
      <p:bldP spid="8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18">
            <a:extLst>
              <a:ext uri="{FF2B5EF4-FFF2-40B4-BE49-F238E27FC236}">
                <a16:creationId xmlns:a16="http://schemas.microsoft.com/office/drawing/2014/main" id="{F57E85E6-42D1-4868-B334-21ACDFB8C06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60304" y="2318858"/>
            <a:ext cx="4671392" cy="4539142"/>
          </a:xfrm>
          <a:custGeom>
            <a:avLst/>
            <a:gdLst>
              <a:gd name="connsiteX0" fmla="*/ 0 w 1866900"/>
              <a:gd name="connsiteY0" fmla="*/ 0 h 3308555"/>
              <a:gd name="connsiteX1" fmla="*/ 1866900 w 1866900"/>
              <a:gd name="connsiteY1" fmla="*/ 0 h 3308555"/>
              <a:gd name="connsiteX2" fmla="*/ 1866900 w 1866900"/>
              <a:gd name="connsiteY2" fmla="*/ 3308555 h 3308555"/>
              <a:gd name="connsiteX3" fmla="*/ 0 w 1866900"/>
              <a:gd name="connsiteY3" fmla="*/ 3308555 h 3308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3308555">
                <a:moveTo>
                  <a:pt x="0" y="0"/>
                </a:moveTo>
                <a:lnTo>
                  <a:pt x="1866900" y="0"/>
                </a:lnTo>
                <a:lnTo>
                  <a:pt x="1866900" y="3308555"/>
                </a:lnTo>
                <a:lnTo>
                  <a:pt x="0" y="330855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dist="38100" dir="5400000" algn="t" rotWithShape="0">
              <a:schemeClr val="bg1">
                <a:lumMod val="50000"/>
                <a:alpha val="37000"/>
              </a:schemeClr>
            </a:outerShdw>
          </a:effectLst>
        </p:spPr>
        <p:txBody>
          <a:bodyPr wrap="square">
            <a:noAutofit/>
          </a:bodyPr>
          <a:lstStyle>
            <a:lvl1pPr marL="0" indent="0" algn="ctr">
              <a:buFontTx/>
              <a:buNone/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IN" dirty="0"/>
              <a:t>Add Pictur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896BF26-84E7-4C17-A69C-DD69AB585C53}"/>
              </a:ext>
            </a:extLst>
          </p:cNvPr>
          <p:cNvGrpSpPr/>
          <p:nvPr userDrawn="1"/>
        </p:nvGrpSpPr>
        <p:grpSpPr>
          <a:xfrm>
            <a:off x="3760317" y="2016312"/>
            <a:ext cx="4671366" cy="302546"/>
            <a:chOff x="3179886" y="2083564"/>
            <a:chExt cx="5702858" cy="369350"/>
          </a:xfrm>
          <a:effectLst/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6711E42-431D-42E8-88C7-9F46785AE12A}"/>
                </a:ext>
              </a:extLst>
            </p:cNvPr>
            <p:cNvGrpSpPr/>
            <p:nvPr/>
          </p:nvGrpSpPr>
          <p:grpSpPr>
            <a:xfrm>
              <a:off x="3179886" y="2083564"/>
              <a:ext cx="5702858" cy="369350"/>
              <a:chOff x="3179886" y="2083564"/>
              <a:chExt cx="5702858" cy="369350"/>
            </a:xfrm>
          </p:grpSpPr>
          <p:sp>
            <p:nvSpPr>
              <p:cNvPr id="39" name="Round Same Side Corner Rectangle 1">
                <a:extLst>
                  <a:ext uri="{FF2B5EF4-FFF2-40B4-BE49-F238E27FC236}">
                    <a16:creationId xmlns:a16="http://schemas.microsoft.com/office/drawing/2014/main" id="{CFF10A0F-8810-424A-A9E3-854BB2A1D4BA}"/>
                  </a:ext>
                </a:extLst>
              </p:cNvPr>
              <p:cNvSpPr/>
              <p:nvPr/>
            </p:nvSpPr>
            <p:spPr>
              <a:xfrm>
                <a:off x="3179886" y="2083564"/>
                <a:ext cx="5702858" cy="369350"/>
              </a:xfrm>
              <a:prstGeom prst="round2SameRect">
                <a:avLst>
                  <a:gd name="adj1" fmla="val 14928"/>
                  <a:gd name="adj2" fmla="val 0"/>
                </a:avLst>
              </a:prstGeom>
              <a:solidFill>
                <a:schemeClr val="tx1">
                  <a:lumMod val="75000"/>
                  <a:lumOff val="25000"/>
                  <a:alpha val="7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EA3A100E-20A4-4ABE-A222-B286AEF02D63}"/>
                  </a:ext>
                </a:extLst>
              </p:cNvPr>
              <p:cNvGrpSpPr/>
              <p:nvPr/>
            </p:nvGrpSpPr>
            <p:grpSpPr>
              <a:xfrm>
                <a:off x="3382010" y="2233949"/>
                <a:ext cx="341854" cy="82531"/>
                <a:chOff x="3382010" y="2233949"/>
                <a:chExt cx="341854" cy="82531"/>
              </a:xfrm>
            </p:grpSpPr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0E83E2E4-1D04-48AF-AE3D-6F3BA72A4D6B}"/>
                    </a:ext>
                  </a:extLst>
                </p:cNvPr>
                <p:cNvSpPr/>
                <p:nvPr/>
              </p:nvSpPr>
              <p:spPr>
                <a:xfrm>
                  <a:off x="3382010" y="2233949"/>
                  <a:ext cx="82531" cy="82531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3D72FF13-36C5-41CC-933F-D737BC06815E}"/>
                    </a:ext>
                  </a:extLst>
                </p:cNvPr>
                <p:cNvSpPr/>
                <p:nvPr/>
              </p:nvSpPr>
              <p:spPr>
                <a:xfrm>
                  <a:off x="3511671" y="2233949"/>
                  <a:ext cx="82531" cy="82531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9680BC9E-DE49-4BCF-ACAD-91124B7B38B8}"/>
                    </a:ext>
                  </a:extLst>
                </p:cNvPr>
                <p:cNvSpPr/>
                <p:nvPr/>
              </p:nvSpPr>
              <p:spPr>
                <a:xfrm>
                  <a:off x="3641333" y="2233949"/>
                  <a:ext cx="82531" cy="825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  <p:sp>
          <p:nvSpPr>
            <p:cNvPr id="38" name="Rounded Rectangle 23">
              <a:extLst>
                <a:ext uri="{FF2B5EF4-FFF2-40B4-BE49-F238E27FC236}">
                  <a16:creationId xmlns:a16="http://schemas.microsoft.com/office/drawing/2014/main" id="{CA5717E0-C41D-45CA-A502-E90A96CB8707}"/>
                </a:ext>
              </a:extLst>
            </p:cNvPr>
            <p:cNvSpPr/>
            <p:nvPr/>
          </p:nvSpPr>
          <p:spPr>
            <a:xfrm>
              <a:off x="3965020" y="2182834"/>
              <a:ext cx="4576872" cy="18475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600" dirty="0">
                <a:solidFill>
                  <a:schemeClr val="bg1">
                    <a:lumMod val="75000"/>
                  </a:schemeClr>
                </a:solidFill>
                <a:latin typeface="Ubuntu" panose="020B05040306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965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>
            <a:extLst>
              <a:ext uri="{FF2B5EF4-FFF2-40B4-BE49-F238E27FC236}">
                <a16:creationId xmlns:a16="http://schemas.microsoft.com/office/drawing/2014/main" id="{EC80A39C-C881-4510-9FAF-C2669ECCE79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3577" y="2781531"/>
            <a:ext cx="3031256" cy="1714038"/>
          </a:xfrm>
          <a:custGeom>
            <a:avLst/>
            <a:gdLst>
              <a:gd name="connsiteX0" fmla="*/ 0 w 1866900"/>
              <a:gd name="connsiteY0" fmla="*/ 0 h 3308555"/>
              <a:gd name="connsiteX1" fmla="*/ 1866900 w 1866900"/>
              <a:gd name="connsiteY1" fmla="*/ 0 h 3308555"/>
              <a:gd name="connsiteX2" fmla="*/ 1866900 w 1866900"/>
              <a:gd name="connsiteY2" fmla="*/ 3308555 h 3308555"/>
              <a:gd name="connsiteX3" fmla="*/ 0 w 1866900"/>
              <a:gd name="connsiteY3" fmla="*/ 3308555 h 3308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3308555">
                <a:moveTo>
                  <a:pt x="0" y="0"/>
                </a:moveTo>
                <a:lnTo>
                  <a:pt x="1866900" y="0"/>
                </a:lnTo>
                <a:lnTo>
                  <a:pt x="1866900" y="3308555"/>
                </a:lnTo>
                <a:lnTo>
                  <a:pt x="0" y="330855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495300" dist="38100" dir="5400000" algn="t" rotWithShape="0">
              <a:schemeClr val="bg1">
                <a:lumMod val="75000"/>
                <a:alpha val="37000"/>
              </a:schemeClr>
            </a:outerShdw>
          </a:effectLst>
        </p:spPr>
        <p:txBody>
          <a:bodyPr wrap="square">
            <a:no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IN" dirty="0"/>
              <a:t>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A962BA-2CAA-4B18-8BCB-79628636991E}"/>
              </a:ext>
            </a:extLst>
          </p:cNvPr>
          <p:cNvGrpSpPr/>
          <p:nvPr userDrawn="1"/>
        </p:nvGrpSpPr>
        <p:grpSpPr>
          <a:xfrm>
            <a:off x="893726" y="2585149"/>
            <a:ext cx="3032156" cy="196382"/>
            <a:chOff x="3179886" y="2083564"/>
            <a:chExt cx="5702858" cy="369350"/>
          </a:xfrm>
        </p:grpSpPr>
        <p:sp>
          <p:nvSpPr>
            <p:cNvPr id="5" name="Round Same Side Corner Rectangle 35">
              <a:extLst>
                <a:ext uri="{FF2B5EF4-FFF2-40B4-BE49-F238E27FC236}">
                  <a16:creationId xmlns:a16="http://schemas.microsoft.com/office/drawing/2014/main" id="{32BB38E2-FFD4-48A9-838F-5755A2DC9212}"/>
                </a:ext>
              </a:extLst>
            </p:cNvPr>
            <p:cNvSpPr/>
            <p:nvPr/>
          </p:nvSpPr>
          <p:spPr>
            <a:xfrm>
              <a:off x="3179886" y="2083564"/>
              <a:ext cx="5702858" cy="369350"/>
            </a:xfrm>
            <a:prstGeom prst="round2SameRect">
              <a:avLst>
                <a:gd name="adj1" fmla="val 14928"/>
                <a:gd name="adj2" fmla="val 0"/>
              </a:avLst>
            </a:prstGeom>
            <a:solidFill>
              <a:schemeClr val="tx1">
                <a:lumMod val="75000"/>
                <a:lumOff val="25000"/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B82C486-1653-41C5-BA12-3661AD5D3493}"/>
                </a:ext>
              </a:extLst>
            </p:cNvPr>
            <p:cNvGrpSpPr/>
            <p:nvPr/>
          </p:nvGrpSpPr>
          <p:grpSpPr>
            <a:xfrm>
              <a:off x="3382010" y="2233949"/>
              <a:ext cx="341854" cy="82531"/>
              <a:chOff x="3382010" y="2233949"/>
              <a:chExt cx="341854" cy="82531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4BB237C4-D442-4BF8-AD0E-8A4A180178D4}"/>
                  </a:ext>
                </a:extLst>
              </p:cNvPr>
              <p:cNvSpPr/>
              <p:nvPr/>
            </p:nvSpPr>
            <p:spPr>
              <a:xfrm>
                <a:off x="3382010" y="2233949"/>
                <a:ext cx="82531" cy="8253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85A78619-D989-4DAC-A4B9-494D0145CD59}"/>
                  </a:ext>
                </a:extLst>
              </p:cNvPr>
              <p:cNvSpPr/>
              <p:nvPr/>
            </p:nvSpPr>
            <p:spPr>
              <a:xfrm>
                <a:off x="3511671" y="2233949"/>
                <a:ext cx="82531" cy="825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E94100C8-737B-44A3-8465-99925884D23E}"/>
                  </a:ext>
                </a:extLst>
              </p:cNvPr>
              <p:cNvSpPr/>
              <p:nvPr/>
            </p:nvSpPr>
            <p:spPr>
              <a:xfrm>
                <a:off x="3641333" y="2233949"/>
                <a:ext cx="82531" cy="825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00B7FB4-5D57-4F51-AB51-36B83CCA371D}"/>
              </a:ext>
            </a:extLst>
          </p:cNvPr>
          <p:cNvGrpSpPr/>
          <p:nvPr userDrawn="1"/>
        </p:nvGrpSpPr>
        <p:grpSpPr>
          <a:xfrm>
            <a:off x="8269605" y="2585149"/>
            <a:ext cx="3032156" cy="196382"/>
            <a:chOff x="3179886" y="2083564"/>
            <a:chExt cx="5702858" cy="369350"/>
          </a:xfrm>
        </p:grpSpPr>
        <p:sp>
          <p:nvSpPr>
            <p:cNvPr id="11" name="Round Same Side Corner Rectangle 67">
              <a:extLst>
                <a:ext uri="{FF2B5EF4-FFF2-40B4-BE49-F238E27FC236}">
                  <a16:creationId xmlns:a16="http://schemas.microsoft.com/office/drawing/2014/main" id="{A151352A-EDF3-4165-B5CC-0EE7B7F08DC0}"/>
                </a:ext>
              </a:extLst>
            </p:cNvPr>
            <p:cNvSpPr/>
            <p:nvPr/>
          </p:nvSpPr>
          <p:spPr>
            <a:xfrm>
              <a:off x="3179886" y="2083564"/>
              <a:ext cx="5702858" cy="369350"/>
            </a:xfrm>
            <a:prstGeom prst="round2SameRect">
              <a:avLst>
                <a:gd name="adj1" fmla="val 14928"/>
                <a:gd name="adj2" fmla="val 0"/>
              </a:avLst>
            </a:prstGeom>
            <a:solidFill>
              <a:schemeClr val="tx1">
                <a:lumMod val="75000"/>
                <a:lumOff val="25000"/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B6E7CC1-2129-4694-BBC1-F75410C1C31B}"/>
                </a:ext>
              </a:extLst>
            </p:cNvPr>
            <p:cNvGrpSpPr/>
            <p:nvPr/>
          </p:nvGrpSpPr>
          <p:grpSpPr>
            <a:xfrm>
              <a:off x="3382010" y="2233949"/>
              <a:ext cx="341854" cy="82531"/>
              <a:chOff x="3382010" y="2233949"/>
              <a:chExt cx="341854" cy="82531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AC2771E-E63A-4576-9049-2731FD0E0E14}"/>
                  </a:ext>
                </a:extLst>
              </p:cNvPr>
              <p:cNvSpPr/>
              <p:nvPr/>
            </p:nvSpPr>
            <p:spPr>
              <a:xfrm>
                <a:off x="3382010" y="2233949"/>
                <a:ext cx="82531" cy="8253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7C5693BF-D68F-46F8-BDE4-F8821354BEDE}"/>
                  </a:ext>
                </a:extLst>
              </p:cNvPr>
              <p:cNvSpPr/>
              <p:nvPr/>
            </p:nvSpPr>
            <p:spPr>
              <a:xfrm>
                <a:off x="3511671" y="2233949"/>
                <a:ext cx="82531" cy="825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BF650C5-4BDF-40A1-A65A-F01AB6DFE6AD}"/>
                  </a:ext>
                </a:extLst>
              </p:cNvPr>
              <p:cNvSpPr/>
              <p:nvPr/>
            </p:nvSpPr>
            <p:spPr>
              <a:xfrm>
                <a:off x="3641333" y="2233949"/>
                <a:ext cx="82531" cy="825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</p:grpSp>
      </p:grpSp>
      <p:sp>
        <p:nvSpPr>
          <p:cNvPr id="16" name="Picture Placeholder 18">
            <a:extLst>
              <a:ext uri="{FF2B5EF4-FFF2-40B4-BE49-F238E27FC236}">
                <a16:creationId xmlns:a16="http://schemas.microsoft.com/office/drawing/2014/main" id="{2A98C658-7A6D-4EDA-A17C-9CAD894EB0F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7018" y="2781531"/>
            <a:ext cx="3031256" cy="1714038"/>
          </a:xfrm>
          <a:custGeom>
            <a:avLst/>
            <a:gdLst>
              <a:gd name="connsiteX0" fmla="*/ 0 w 1866900"/>
              <a:gd name="connsiteY0" fmla="*/ 0 h 3308555"/>
              <a:gd name="connsiteX1" fmla="*/ 1866900 w 1866900"/>
              <a:gd name="connsiteY1" fmla="*/ 0 h 3308555"/>
              <a:gd name="connsiteX2" fmla="*/ 1866900 w 1866900"/>
              <a:gd name="connsiteY2" fmla="*/ 3308555 h 3308555"/>
              <a:gd name="connsiteX3" fmla="*/ 0 w 1866900"/>
              <a:gd name="connsiteY3" fmla="*/ 3308555 h 3308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3308555">
                <a:moveTo>
                  <a:pt x="0" y="0"/>
                </a:moveTo>
                <a:lnTo>
                  <a:pt x="1866900" y="0"/>
                </a:lnTo>
                <a:lnTo>
                  <a:pt x="1866900" y="3308555"/>
                </a:lnTo>
                <a:lnTo>
                  <a:pt x="0" y="330855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495300" dist="38100" dir="5400000" algn="t" rotWithShape="0">
              <a:schemeClr val="bg1">
                <a:lumMod val="75000"/>
                <a:alpha val="37000"/>
              </a:schemeClr>
            </a:outerShdw>
          </a:effectLst>
        </p:spPr>
        <p:txBody>
          <a:bodyPr wrap="square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IN" dirty="0"/>
              <a:t>Add Picture</a:t>
            </a:r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CB88F19E-B055-49E1-976A-416266B2DAC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60304" y="2318858"/>
            <a:ext cx="4671392" cy="2639384"/>
          </a:xfrm>
          <a:custGeom>
            <a:avLst/>
            <a:gdLst>
              <a:gd name="connsiteX0" fmla="*/ 0 w 1866900"/>
              <a:gd name="connsiteY0" fmla="*/ 0 h 3308555"/>
              <a:gd name="connsiteX1" fmla="*/ 1866900 w 1866900"/>
              <a:gd name="connsiteY1" fmla="*/ 0 h 3308555"/>
              <a:gd name="connsiteX2" fmla="*/ 1866900 w 1866900"/>
              <a:gd name="connsiteY2" fmla="*/ 3308555 h 3308555"/>
              <a:gd name="connsiteX3" fmla="*/ 0 w 1866900"/>
              <a:gd name="connsiteY3" fmla="*/ 3308555 h 3308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6900" h="3308555">
                <a:moveTo>
                  <a:pt x="0" y="0"/>
                </a:moveTo>
                <a:lnTo>
                  <a:pt x="1866900" y="0"/>
                </a:lnTo>
                <a:lnTo>
                  <a:pt x="1866900" y="3308555"/>
                </a:lnTo>
                <a:lnTo>
                  <a:pt x="0" y="330855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dist="38100" dir="5400000" algn="t" rotWithShape="0">
              <a:schemeClr val="bg1">
                <a:lumMod val="50000"/>
                <a:alpha val="37000"/>
              </a:schemeClr>
            </a:outerShdw>
          </a:effectLst>
        </p:spPr>
        <p:txBody>
          <a:bodyPr wrap="square">
            <a:noAutofit/>
          </a:bodyPr>
          <a:lstStyle>
            <a:lvl1pPr marL="0" indent="0" algn="ctr">
              <a:buFontTx/>
              <a:buNone/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IN" dirty="0"/>
              <a:t>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8A1712D-3FD6-4903-B500-FD6BEB0CFA9C}"/>
              </a:ext>
            </a:extLst>
          </p:cNvPr>
          <p:cNvGrpSpPr/>
          <p:nvPr userDrawn="1"/>
        </p:nvGrpSpPr>
        <p:grpSpPr>
          <a:xfrm>
            <a:off x="3760317" y="2016312"/>
            <a:ext cx="4671366" cy="302546"/>
            <a:chOff x="3179886" y="2083564"/>
            <a:chExt cx="5702858" cy="369350"/>
          </a:xfrm>
          <a:effectLst/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F113239-37E8-4465-BE61-906F98E3D832}"/>
                </a:ext>
              </a:extLst>
            </p:cNvPr>
            <p:cNvGrpSpPr/>
            <p:nvPr/>
          </p:nvGrpSpPr>
          <p:grpSpPr>
            <a:xfrm>
              <a:off x="3179886" y="2083564"/>
              <a:ext cx="5702858" cy="369350"/>
              <a:chOff x="3179886" y="2083564"/>
              <a:chExt cx="5702858" cy="369350"/>
            </a:xfrm>
          </p:grpSpPr>
          <p:sp>
            <p:nvSpPr>
              <p:cNvPr id="21" name="Round Same Side Corner Rectangle 1">
                <a:extLst>
                  <a:ext uri="{FF2B5EF4-FFF2-40B4-BE49-F238E27FC236}">
                    <a16:creationId xmlns:a16="http://schemas.microsoft.com/office/drawing/2014/main" id="{1ACF2853-9A80-4083-8290-D4458412DF61}"/>
                  </a:ext>
                </a:extLst>
              </p:cNvPr>
              <p:cNvSpPr/>
              <p:nvPr/>
            </p:nvSpPr>
            <p:spPr>
              <a:xfrm>
                <a:off x="3179886" y="2083564"/>
                <a:ext cx="5702858" cy="369350"/>
              </a:xfrm>
              <a:prstGeom prst="round2SameRect">
                <a:avLst>
                  <a:gd name="adj1" fmla="val 14928"/>
                  <a:gd name="adj2" fmla="val 0"/>
                </a:avLst>
              </a:prstGeom>
              <a:solidFill>
                <a:schemeClr val="tx1">
                  <a:lumMod val="75000"/>
                  <a:lumOff val="25000"/>
                  <a:alpha val="7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A86E7B65-7412-4D97-94D2-625C63F84CBF}"/>
                  </a:ext>
                </a:extLst>
              </p:cNvPr>
              <p:cNvGrpSpPr/>
              <p:nvPr/>
            </p:nvGrpSpPr>
            <p:grpSpPr>
              <a:xfrm>
                <a:off x="3382010" y="2233949"/>
                <a:ext cx="341854" cy="82531"/>
                <a:chOff x="3382010" y="2233949"/>
                <a:chExt cx="341854" cy="82531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1074A664-02D7-4C91-AD35-CDC2B86D8025}"/>
                    </a:ext>
                  </a:extLst>
                </p:cNvPr>
                <p:cNvSpPr/>
                <p:nvPr/>
              </p:nvSpPr>
              <p:spPr>
                <a:xfrm>
                  <a:off x="3382010" y="2233949"/>
                  <a:ext cx="82531" cy="82531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9EE7F7C1-1B4F-44CD-9BED-E5D33DD220FF}"/>
                    </a:ext>
                  </a:extLst>
                </p:cNvPr>
                <p:cNvSpPr/>
                <p:nvPr/>
              </p:nvSpPr>
              <p:spPr>
                <a:xfrm>
                  <a:off x="3511671" y="2233949"/>
                  <a:ext cx="82531" cy="82531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202F2ED3-08B1-4458-8A7E-6D7479FB4173}"/>
                    </a:ext>
                  </a:extLst>
                </p:cNvPr>
                <p:cNvSpPr/>
                <p:nvPr/>
              </p:nvSpPr>
              <p:spPr>
                <a:xfrm>
                  <a:off x="3641333" y="2233949"/>
                  <a:ext cx="82531" cy="82531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  <p:sp>
          <p:nvSpPr>
            <p:cNvPr id="20" name="Rounded Rectangle 23">
              <a:extLst>
                <a:ext uri="{FF2B5EF4-FFF2-40B4-BE49-F238E27FC236}">
                  <a16:creationId xmlns:a16="http://schemas.microsoft.com/office/drawing/2014/main" id="{01C6AD27-04D4-43EB-83DE-03178179A081}"/>
                </a:ext>
              </a:extLst>
            </p:cNvPr>
            <p:cNvSpPr/>
            <p:nvPr/>
          </p:nvSpPr>
          <p:spPr>
            <a:xfrm>
              <a:off x="3965020" y="2182834"/>
              <a:ext cx="4576872" cy="18475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600" dirty="0">
                <a:solidFill>
                  <a:schemeClr val="bg1">
                    <a:lumMod val="75000"/>
                  </a:schemeClr>
                </a:solidFill>
                <a:latin typeface="Ubuntu" panose="020B05040306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2825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6" grpId="0" animBg="1"/>
      <p:bldP spid="17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7CB099F-3B97-46AC-8C45-AD97F23FBA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5800" y="685800"/>
            <a:ext cx="5486400" cy="5486400"/>
          </a:xfrm>
          <a:custGeom>
            <a:avLst/>
            <a:gdLst>
              <a:gd name="connsiteX0" fmla="*/ 0 w 5486400"/>
              <a:gd name="connsiteY0" fmla="*/ 0 h 5486400"/>
              <a:gd name="connsiteX1" fmla="*/ 5486400 w 5486400"/>
              <a:gd name="connsiteY1" fmla="*/ 0 h 5486400"/>
              <a:gd name="connsiteX2" fmla="*/ 5486400 w 5486400"/>
              <a:gd name="connsiteY2" fmla="*/ 5486400 h 5486400"/>
              <a:gd name="connsiteX3" fmla="*/ 0 w 548640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6400" h="5486400">
                <a:moveTo>
                  <a:pt x="0" y="0"/>
                </a:moveTo>
                <a:lnTo>
                  <a:pt x="5486400" y="0"/>
                </a:lnTo>
                <a:lnTo>
                  <a:pt x="5486400" y="5486400"/>
                </a:lnTo>
                <a:lnTo>
                  <a:pt x="0" y="5486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820663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032996-E01E-483F-AA8F-7E987E9DAD7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19600" y="685800"/>
            <a:ext cx="7162800" cy="5486400"/>
          </a:xfrm>
          <a:custGeom>
            <a:avLst/>
            <a:gdLst>
              <a:gd name="connsiteX0" fmla="*/ 0 w 7162800"/>
              <a:gd name="connsiteY0" fmla="*/ 0 h 5486400"/>
              <a:gd name="connsiteX1" fmla="*/ 7162800 w 7162800"/>
              <a:gd name="connsiteY1" fmla="*/ 0 h 5486400"/>
              <a:gd name="connsiteX2" fmla="*/ 7162800 w 7162800"/>
              <a:gd name="connsiteY2" fmla="*/ 5486400 h 5486400"/>
              <a:gd name="connsiteX3" fmla="*/ 0 w 716280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62800" h="5486400">
                <a:moveTo>
                  <a:pt x="0" y="0"/>
                </a:moveTo>
                <a:lnTo>
                  <a:pt x="7162800" y="0"/>
                </a:lnTo>
                <a:lnTo>
                  <a:pt x="7162800" y="5486400"/>
                </a:lnTo>
                <a:lnTo>
                  <a:pt x="0" y="5486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373509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5" name="Google Shape;685;p5"/>
          <p:cNvGrpSpPr/>
          <p:nvPr/>
        </p:nvGrpSpPr>
        <p:grpSpPr>
          <a:xfrm>
            <a:off x="2455168" y="6054421"/>
            <a:ext cx="1480659" cy="816359"/>
            <a:chOff x="1003176" y="4540815"/>
            <a:chExt cx="1110494" cy="612269"/>
          </a:xfrm>
        </p:grpSpPr>
        <p:sp>
          <p:nvSpPr>
            <p:cNvPr id="686" name="Google Shape;686;p5"/>
            <p:cNvSpPr/>
            <p:nvPr/>
          </p:nvSpPr>
          <p:spPr>
            <a:xfrm>
              <a:off x="1003176" y="4540815"/>
              <a:ext cx="1110494" cy="612269"/>
            </a:xfrm>
            <a:custGeom>
              <a:avLst/>
              <a:gdLst/>
              <a:ahLst/>
              <a:cxnLst/>
              <a:rect l="l" t="t" r="r" b="b"/>
              <a:pathLst>
                <a:path w="22289" h="12289" extrusionOk="0">
                  <a:moveTo>
                    <a:pt x="472" y="5757"/>
                  </a:moveTo>
                  <a:lnTo>
                    <a:pt x="674" y="6262"/>
                  </a:lnTo>
                  <a:lnTo>
                    <a:pt x="943" y="6734"/>
                  </a:lnTo>
                  <a:lnTo>
                    <a:pt x="606" y="6734"/>
                  </a:lnTo>
                  <a:lnTo>
                    <a:pt x="438" y="6666"/>
                  </a:lnTo>
                  <a:lnTo>
                    <a:pt x="270" y="6565"/>
                  </a:lnTo>
                  <a:lnTo>
                    <a:pt x="169" y="6464"/>
                  </a:lnTo>
                  <a:lnTo>
                    <a:pt x="135" y="6363"/>
                  </a:lnTo>
                  <a:lnTo>
                    <a:pt x="135" y="6262"/>
                  </a:lnTo>
                  <a:lnTo>
                    <a:pt x="169" y="6128"/>
                  </a:lnTo>
                  <a:lnTo>
                    <a:pt x="303" y="5926"/>
                  </a:lnTo>
                  <a:lnTo>
                    <a:pt x="472" y="5757"/>
                  </a:lnTo>
                  <a:close/>
                  <a:moveTo>
                    <a:pt x="11414" y="6094"/>
                  </a:moveTo>
                  <a:lnTo>
                    <a:pt x="11548" y="6161"/>
                  </a:lnTo>
                  <a:lnTo>
                    <a:pt x="11717" y="6565"/>
                  </a:lnTo>
                  <a:lnTo>
                    <a:pt x="11784" y="6969"/>
                  </a:lnTo>
                  <a:lnTo>
                    <a:pt x="11548" y="6835"/>
                  </a:lnTo>
                  <a:lnTo>
                    <a:pt x="11245" y="6734"/>
                  </a:lnTo>
                  <a:lnTo>
                    <a:pt x="10976" y="6633"/>
                  </a:lnTo>
                  <a:lnTo>
                    <a:pt x="10673" y="6565"/>
                  </a:lnTo>
                  <a:lnTo>
                    <a:pt x="10875" y="6363"/>
                  </a:lnTo>
                  <a:lnTo>
                    <a:pt x="11077" y="6195"/>
                  </a:lnTo>
                  <a:lnTo>
                    <a:pt x="11178" y="6128"/>
                  </a:lnTo>
                  <a:lnTo>
                    <a:pt x="11279" y="6094"/>
                  </a:lnTo>
                  <a:close/>
                  <a:moveTo>
                    <a:pt x="1852" y="0"/>
                  </a:moveTo>
                  <a:lnTo>
                    <a:pt x="1785" y="34"/>
                  </a:lnTo>
                  <a:lnTo>
                    <a:pt x="1751" y="101"/>
                  </a:lnTo>
                  <a:lnTo>
                    <a:pt x="1549" y="741"/>
                  </a:lnTo>
                  <a:lnTo>
                    <a:pt x="1280" y="1347"/>
                  </a:lnTo>
                  <a:lnTo>
                    <a:pt x="775" y="2559"/>
                  </a:lnTo>
                  <a:lnTo>
                    <a:pt x="573" y="3199"/>
                  </a:lnTo>
                  <a:lnTo>
                    <a:pt x="404" y="3805"/>
                  </a:lnTo>
                  <a:lnTo>
                    <a:pt x="337" y="4141"/>
                  </a:lnTo>
                  <a:lnTo>
                    <a:pt x="303" y="4478"/>
                  </a:lnTo>
                  <a:lnTo>
                    <a:pt x="303" y="4781"/>
                  </a:lnTo>
                  <a:lnTo>
                    <a:pt x="303" y="5151"/>
                  </a:lnTo>
                  <a:lnTo>
                    <a:pt x="371" y="5421"/>
                  </a:lnTo>
                  <a:lnTo>
                    <a:pt x="438" y="5690"/>
                  </a:lnTo>
                  <a:lnTo>
                    <a:pt x="202" y="5825"/>
                  </a:lnTo>
                  <a:lnTo>
                    <a:pt x="135" y="5926"/>
                  </a:lnTo>
                  <a:lnTo>
                    <a:pt x="68" y="6027"/>
                  </a:lnTo>
                  <a:lnTo>
                    <a:pt x="0" y="6128"/>
                  </a:lnTo>
                  <a:lnTo>
                    <a:pt x="0" y="6262"/>
                  </a:lnTo>
                  <a:lnTo>
                    <a:pt x="0" y="6363"/>
                  </a:lnTo>
                  <a:lnTo>
                    <a:pt x="34" y="6498"/>
                  </a:lnTo>
                  <a:lnTo>
                    <a:pt x="101" y="6633"/>
                  </a:lnTo>
                  <a:lnTo>
                    <a:pt x="202" y="6734"/>
                  </a:lnTo>
                  <a:lnTo>
                    <a:pt x="337" y="6801"/>
                  </a:lnTo>
                  <a:lnTo>
                    <a:pt x="472" y="6868"/>
                  </a:lnTo>
                  <a:lnTo>
                    <a:pt x="775" y="6902"/>
                  </a:lnTo>
                  <a:lnTo>
                    <a:pt x="1078" y="6902"/>
                  </a:lnTo>
                  <a:lnTo>
                    <a:pt x="1414" y="7340"/>
                  </a:lnTo>
                  <a:lnTo>
                    <a:pt x="1818" y="7744"/>
                  </a:lnTo>
                  <a:lnTo>
                    <a:pt x="2256" y="8047"/>
                  </a:lnTo>
                  <a:lnTo>
                    <a:pt x="2458" y="8182"/>
                  </a:lnTo>
                  <a:lnTo>
                    <a:pt x="2694" y="8283"/>
                  </a:lnTo>
                  <a:lnTo>
                    <a:pt x="3300" y="8485"/>
                  </a:lnTo>
                  <a:lnTo>
                    <a:pt x="3939" y="8653"/>
                  </a:lnTo>
                  <a:lnTo>
                    <a:pt x="5252" y="8956"/>
                  </a:lnTo>
                  <a:lnTo>
                    <a:pt x="5825" y="9057"/>
                  </a:lnTo>
                  <a:lnTo>
                    <a:pt x="6397" y="9091"/>
                  </a:lnTo>
                  <a:lnTo>
                    <a:pt x="6700" y="9091"/>
                  </a:lnTo>
                  <a:lnTo>
                    <a:pt x="6969" y="9057"/>
                  </a:lnTo>
                  <a:lnTo>
                    <a:pt x="7273" y="9023"/>
                  </a:lnTo>
                  <a:lnTo>
                    <a:pt x="7542" y="8922"/>
                  </a:lnTo>
                  <a:lnTo>
                    <a:pt x="7845" y="8821"/>
                  </a:lnTo>
                  <a:lnTo>
                    <a:pt x="8081" y="8720"/>
                  </a:lnTo>
                  <a:lnTo>
                    <a:pt x="8586" y="8417"/>
                  </a:lnTo>
                  <a:lnTo>
                    <a:pt x="9091" y="8081"/>
                  </a:lnTo>
                  <a:lnTo>
                    <a:pt x="9528" y="7710"/>
                  </a:lnTo>
                  <a:lnTo>
                    <a:pt x="10067" y="7205"/>
                  </a:lnTo>
                  <a:lnTo>
                    <a:pt x="10572" y="6700"/>
                  </a:lnTo>
                  <a:lnTo>
                    <a:pt x="11178" y="6902"/>
                  </a:lnTo>
                  <a:lnTo>
                    <a:pt x="11515" y="7070"/>
                  </a:lnTo>
                  <a:lnTo>
                    <a:pt x="11818" y="7205"/>
                  </a:lnTo>
                  <a:lnTo>
                    <a:pt x="11851" y="7609"/>
                  </a:lnTo>
                  <a:lnTo>
                    <a:pt x="11851" y="8013"/>
                  </a:lnTo>
                  <a:lnTo>
                    <a:pt x="11818" y="8855"/>
                  </a:lnTo>
                  <a:lnTo>
                    <a:pt x="11851" y="9326"/>
                  </a:lnTo>
                  <a:lnTo>
                    <a:pt x="11986" y="9798"/>
                  </a:lnTo>
                  <a:lnTo>
                    <a:pt x="12121" y="10269"/>
                  </a:lnTo>
                  <a:lnTo>
                    <a:pt x="12323" y="10707"/>
                  </a:lnTo>
                  <a:lnTo>
                    <a:pt x="12592" y="11144"/>
                  </a:lnTo>
                  <a:lnTo>
                    <a:pt x="12895" y="11515"/>
                  </a:lnTo>
                  <a:lnTo>
                    <a:pt x="13232" y="11885"/>
                  </a:lnTo>
                  <a:lnTo>
                    <a:pt x="13636" y="12188"/>
                  </a:lnTo>
                  <a:lnTo>
                    <a:pt x="13737" y="12289"/>
                  </a:lnTo>
                  <a:lnTo>
                    <a:pt x="14073" y="12289"/>
                  </a:lnTo>
                  <a:lnTo>
                    <a:pt x="13501" y="11818"/>
                  </a:lnTo>
                  <a:lnTo>
                    <a:pt x="13265" y="11548"/>
                  </a:lnTo>
                  <a:lnTo>
                    <a:pt x="12996" y="11279"/>
                  </a:lnTo>
                  <a:lnTo>
                    <a:pt x="12794" y="11010"/>
                  </a:lnTo>
                  <a:lnTo>
                    <a:pt x="12592" y="10707"/>
                  </a:lnTo>
                  <a:lnTo>
                    <a:pt x="12424" y="10404"/>
                  </a:lnTo>
                  <a:lnTo>
                    <a:pt x="12255" y="10067"/>
                  </a:lnTo>
                  <a:lnTo>
                    <a:pt x="12188" y="9798"/>
                  </a:lnTo>
                  <a:lnTo>
                    <a:pt x="12121" y="9562"/>
                  </a:lnTo>
                  <a:lnTo>
                    <a:pt x="12087" y="9023"/>
                  </a:lnTo>
                  <a:lnTo>
                    <a:pt x="12087" y="8451"/>
                  </a:lnTo>
                  <a:lnTo>
                    <a:pt x="12087" y="7912"/>
                  </a:lnTo>
                  <a:lnTo>
                    <a:pt x="12087" y="7340"/>
                  </a:lnTo>
                  <a:lnTo>
                    <a:pt x="12053" y="7070"/>
                  </a:lnTo>
                  <a:lnTo>
                    <a:pt x="11986" y="6835"/>
                  </a:lnTo>
                  <a:lnTo>
                    <a:pt x="11919" y="6565"/>
                  </a:lnTo>
                  <a:lnTo>
                    <a:pt x="11818" y="6363"/>
                  </a:lnTo>
                  <a:lnTo>
                    <a:pt x="11683" y="6128"/>
                  </a:lnTo>
                  <a:lnTo>
                    <a:pt x="11481" y="5926"/>
                  </a:lnTo>
                  <a:lnTo>
                    <a:pt x="11346" y="5825"/>
                  </a:lnTo>
                  <a:lnTo>
                    <a:pt x="11279" y="5791"/>
                  </a:lnTo>
                  <a:lnTo>
                    <a:pt x="11245" y="5825"/>
                  </a:lnTo>
                  <a:lnTo>
                    <a:pt x="10437" y="6565"/>
                  </a:lnTo>
                  <a:lnTo>
                    <a:pt x="9663" y="7306"/>
                  </a:lnTo>
                  <a:lnTo>
                    <a:pt x="9225" y="7676"/>
                  </a:lnTo>
                  <a:lnTo>
                    <a:pt x="8788" y="7979"/>
                  </a:lnTo>
                  <a:lnTo>
                    <a:pt x="8350" y="8283"/>
                  </a:lnTo>
                  <a:lnTo>
                    <a:pt x="7879" y="8552"/>
                  </a:lnTo>
                  <a:lnTo>
                    <a:pt x="7576" y="8687"/>
                  </a:lnTo>
                  <a:lnTo>
                    <a:pt x="7306" y="8754"/>
                  </a:lnTo>
                  <a:lnTo>
                    <a:pt x="7003" y="8821"/>
                  </a:lnTo>
                  <a:lnTo>
                    <a:pt x="6734" y="8855"/>
                  </a:lnTo>
                  <a:lnTo>
                    <a:pt x="6128" y="8855"/>
                  </a:lnTo>
                  <a:lnTo>
                    <a:pt x="5522" y="8788"/>
                  </a:lnTo>
                  <a:lnTo>
                    <a:pt x="4916" y="8687"/>
                  </a:lnTo>
                  <a:lnTo>
                    <a:pt x="4310" y="8518"/>
                  </a:lnTo>
                  <a:lnTo>
                    <a:pt x="3165" y="8215"/>
                  </a:lnTo>
                  <a:lnTo>
                    <a:pt x="2896" y="8114"/>
                  </a:lnTo>
                  <a:lnTo>
                    <a:pt x="2593" y="7979"/>
                  </a:lnTo>
                  <a:lnTo>
                    <a:pt x="2357" y="7845"/>
                  </a:lnTo>
                  <a:lnTo>
                    <a:pt x="2088" y="7643"/>
                  </a:lnTo>
                  <a:lnTo>
                    <a:pt x="1852" y="7441"/>
                  </a:lnTo>
                  <a:lnTo>
                    <a:pt x="1650" y="7239"/>
                  </a:lnTo>
                  <a:lnTo>
                    <a:pt x="1448" y="6969"/>
                  </a:lnTo>
                  <a:lnTo>
                    <a:pt x="1246" y="6734"/>
                  </a:lnTo>
                  <a:lnTo>
                    <a:pt x="1078" y="6464"/>
                  </a:lnTo>
                  <a:lnTo>
                    <a:pt x="943" y="6161"/>
                  </a:lnTo>
                  <a:lnTo>
                    <a:pt x="808" y="5892"/>
                  </a:lnTo>
                  <a:lnTo>
                    <a:pt x="707" y="5589"/>
                  </a:lnTo>
                  <a:lnTo>
                    <a:pt x="606" y="5286"/>
                  </a:lnTo>
                  <a:lnTo>
                    <a:pt x="573" y="5017"/>
                  </a:lnTo>
                  <a:lnTo>
                    <a:pt x="539" y="4714"/>
                  </a:lnTo>
                  <a:lnTo>
                    <a:pt x="539" y="4411"/>
                  </a:lnTo>
                  <a:lnTo>
                    <a:pt x="606" y="3872"/>
                  </a:lnTo>
                  <a:lnTo>
                    <a:pt x="707" y="3333"/>
                  </a:lnTo>
                  <a:lnTo>
                    <a:pt x="909" y="2828"/>
                  </a:lnTo>
                  <a:lnTo>
                    <a:pt x="1111" y="2290"/>
                  </a:lnTo>
                  <a:lnTo>
                    <a:pt x="1549" y="1280"/>
                  </a:lnTo>
                  <a:lnTo>
                    <a:pt x="1751" y="775"/>
                  </a:lnTo>
                  <a:lnTo>
                    <a:pt x="1953" y="236"/>
                  </a:lnTo>
                  <a:lnTo>
                    <a:pt x="3266" y="472"/>
                  </a:lnTo>
                  <a:lnTo>
                    <a:pt x="4545" y="741"/>
                  </a:lnTo>
                  <a:lnTo>
                    <a:pt x="5858" y="1044"/>
                  </a:lnTo>
                  <a:lnTo>
                    <a:pt x="7138" y="1381"/>
                  </a:lnTo>
                  <a:lnTo>
                    <a:pt x="8417" y="1751"/>
                  </a:lnTo>
                  <a:lnTo>
                    <a:pt x="9663" y="2189"/>
                  </a:lnTo>
                  <a:lnTo>
                    <a:pt x="10909" y="2626"/>
                  </a:lnTo>
                  <a:lnTo>
                    <a:pt x="12154" y="3098"/>
                  </a:lnTo>
                  <a:lnTo>
                    <a:pt x="13434" y="3636"/>
                  </a:lnTo>
                  <a:lnTo>
                    <a:pt x="14713" y="4209"/>
                  </a:lnTo>
                  <a:lnTo>
                    <a:pt x="17238" y="5387"/>
                  </a:lnTo>
                  <a:lnTo>
                    <a:pt x="19763" y="6633"/>
                  </a:lnTo>
                  <a:lnTo>
                    <a:pt x="20336" y="6902"/>
                  </a:lnTo>
                  <a:lnTo>
                    <a:pt x="20706" y="7070"/>
                  </a:lnTo>
                  <a:lnTo>
                    <a:pt x="21076" y="7272"/>
                  </a:lnTo>
                  <a:lnTo>
                    <a:pt x="21413" y="7508"/>
                  </a:lnTo>
                  <a:lnTo>
                    <a:pt x="21716" y="7744"/>
                  </a:lnTo>
                  <a:lnTo>
                    <a:pt x="21851" y="7878"/>
                  </a:lnTo>
                  <a:lnTo>
                    <a:pt x="21952" y="8013"/>
                  </a:lnTo>
                  <a:lnTo>
                    <a:pt x="22019" y="8148"/>
                  </a:lnTo>
                  <a:lnTo>
                    <a:pt x="22053" y="8316"/>
                  </a:lnTo>
                  <a:lnTo>
                    <a:pt x="21548" y="9461"/>
                  </a:lnTo>
                  <a:lnTo>
                    <a:pt x="21009" y="10606"/>
                  </a:lnTo>
                  <a:lnTo>
                    <a:pt x="20605" y="11447"/>
                  </a:lnTo>
                  <a:lnTo>
                    <a:pt x="20167" y="12289"/>
                  </a:lnTo>
                  <a:lnTo>
                    <a:pt x="20470" y="12289"/>
                  </a:lnTo>
                  <a:lnTo>
                    <a:pt x="20773" y="11582"/>
                  </a:lnTo>
                  <a:lnTo>
                    <a:pt x="21076" y="10942"/>
                  </a:lnTo>
                  <a:lnTo>
                    <a:pt x="21649" y="9764"/>
                  </a:lnTo>
                  <a:lnTo>
                    <a:pt x="21884" y="9158"/>
                  </a:lnTo>
                  <a:lnTo>
                    <a:pt x="22019" y="8855"/>
                  </a:lnTo>
                  <a:lnTo>
                    <a:pt x="22086" y="8518"/>
                  </a:lnTo>
                  <a:lnTo>
                    <a:pt x="22154" y="8552"/>
                  </a:lnTo>
                  <a:lnTo>
                    <a:pt x="22221" y="8552"/>
                  </a:lnTo>
                  <a:lnTo>
                    <a:pt x="22255" y="8518"/>
                  </a:lnTo>
                  <a:lnTo>
                    <a:pt x="22288" y="8451"/>
                  </a:lnTo>
                  <a:lnTo>
                    <a:pt x="22255" y="8215"/>
                  </a:lnTo>
                  <a:lnTo>
                    <a:pt x="22187" y="8047"/>
                  </a:lnTo>
                  <a:lnTo>
                    <a:pt x="22086" y="7845"/>
                  </a:lnTo>
                  <a:lnTo>
                    <a:pt x="21952" y="7710"/>
                  </a:lnTo>
                  <a:lnTo>
                    <a:pt x="21581" y="7407"/>
                  </a:lnTo>
                  <a:lnTo>
                    <a:pt x="21245" y="7171"/>
                  </a:lnTo>
                  <a:lnTo>
                    <a:pt x="20639" y="6801"/>
                  </a:lnTo>
                  <a:lnTo>
                    <a:pt x="19999" y="6498"/>
                  </a:lnTo>
                  <a:lnTo>
                    <a:pt x="18720" y="5858"/>
                  </a:lnTo>
                  <a:lnTo>
                    <a:pt x="17339" y="5185"/>
                  </a:lnTo>
                  <a:lnTo>
                    <a:pt x="15959" y="4545"/>
                  </a:lnTo>
                  <a:lnTo>
                    <a:pt x="14578" y="3906"/>
                  </a:lnTo>
                  <a:lnTo>
                    <a:pt x="13164" y="3300"/>
                  </a:lnTo>
                  <a:lnTo>
                    <a:pt x="11851" y="2761"/>
                  </a:lnTo>
                  <a:lnTo>
                    <a:pt x="10538" y="2256"/>
                  </a:lnTo>
                  <a:lnTo>
                    <a:pt x="9192" y="1785"/>
                  </a:lnTo>
                  <a:lnTo>
                    <a:pt x="7845" y="1381"/>
                  </a:lnTo>
                  <a:lnTo>
                    <a:pt x="6397" y="943"/>
                  </a:lnTo>
                  <a:lnTo>
                    <a:pt x="4949" y="573"/>
                  </a:lnTo>
                  <a:lnTo>
                    <a:pt x="4209" y="438"/>
                  </a:lnTo>
                  <a:lnTo>
                    <a:pt x="3468" y="270"/>
                  </a:lnTo>
                  <a:lnTo>
                    <a:pt x="2727" y="169"/>
                  </a:lnTo>
                  <a:lnTo>
                    <a:pt x="1987" y="101"/>
                  </a:lnTo>
                  <a:lnTo>
                    <a:pt x="1919" y="34"/>
                  </a:lnTo>
                  <a:lnTo>
                    <a:pt x="185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7" name="Google Shape;687;p5"/>
            <p:cNvSpPr/>
            <p:nvPr/>
          </p:nvSpPr>
          <p:spPr>
            <a:xfrm>
              <a:off x="1058529" y="4589442"/>
              <a:ext cx="471371" cy="375811"/>
            </a:xfrm>
            <a:custGeom>
              <a:avLst/>
              <a:gdLst/>
              <a:ahLst/>
              <a:cxnLst/>
              <a:rect l="l" t="t" r="r" b="b"/>
              <a:pathLst>
                <a:path w="9461" h="7543" extrusionOk="0">
                  <a:moveTo>
                    <a:pt x="3805" y="472"/>
                  </a:moveTo>
                  <a:lnTo>
                    <a:pt x="4377" y="573"/>
                  </a:lnTo>
                  <a:lnTo>
                    <a:pt x="4916" y="708"/>
                  </a:lnTo>
                  <a:lnTo>
                    <a:pt x="5488" y="876"/>
                  </a:lnTo>
                  <a:lnTo>
                    <a:pt x="6027" y="1044"/>
                  </a:lnTo>
                  <a:lnTo>
                    <a:pt x="6566" y="1246"/>
                  </a:lnTo>
                  <a:lnTo>
                    <a:pt x="7104" y="1482"/>
                  </a:lnTo>
                  <a:lnTo>
                    <a:pt x="7643" y="1718"/>
                  </a:lnTo>
                  <a:lnTo>
                    <a:pt x="8182" y="1953"/>
                  </a:lnTo>
                  <a:lnTo>
                    <a:pt x="8586" y="2223"/>
                  </a:lnTo>
                  <a:lnTo>
                    <a:pt x="8754" y="2357"/>
                  </a:lnTo>
                  <a:lnTo>
                    <a:pt x="8922" y="2526"/>
                  </a:lnTo>
                  <a:lnTo>
                    <a:pt x="9023" y="2694"/>
                  </a:lnTo>
                  <a:lnTo>
                    <a:pt x="9124" y="2896"/>
                  </a:lnTo>
                  <a:lnTo>
                    <a:pt x="9192" y="3132"/>
                  </a:lnTo>
                  <a:lnTo>
                    <a:pt x="9225" y="3367"/>
                  </a:lnTo>
                  <a:lnTo>
                    <a:pt x="9192" y="3670"/>
                  </a:lnTo>
                  <a:lnTo>
                    <a:pt x="6498" y="2088"/>
                  </a:lnTo>
                  <a:lnTo>
                    <a:pt x="3805" y="472"/>
                  </a:lnTo>
                  <a:close/>
                  <a:moveTo>
                    <a:pt x="2256" y="203"/>
                  </a:moveTo>
                  <a:lnTo>
                    <a:pt x="2290" y="236"/>
                  </a:lnTo>
                  <a:lnTo>
                    <a:pt x="2323" y="270"/>
                  </a:lnTo>
                  <a:lnTo>
                    <a:pt x="2896" y="337"/>
                  </a:lnTo>
                  <a:lnTo>
                    <a:pt x="3502" y="405"/>
                  </a:lnTo>
                  <a:lnTo>
                    <a:pt x="3771" y="708"/>
                  </a:lnTo>
                  <a:lnTo>
                    <a:pt x="4074" y="943"/>
                  </a:lnTo>
                  <a:lnTo>
                    <a:pt x="4377" y="1179"/>
                  </a:lnTo>
                  <a:lnTo>
                    <a:pt x="4747" y="1415"/>
                  </a:lnTo>
                  <a:lnTo>
                    <a:pt x="5454" y="1819"/>
                  </a:lnTo>
                  <a:lnTo>
                    <a:pt x="6128" y="2189"/>
                  </a:lnTo>
                  <a:lnTo>
                    <a:pt x="9124" y="3940"/>
                  </a:lnTo>
                  <a:lnTo>
                    <a:pt x="9124" y="3940"/>
                  </a:lnTo>
                  <a:lnTo>
                    <a:pt x="7879" y="3603"/>
                  </a:lnTo>
                  <a:lnTo>
                    <a:pt x="7205" y="3435"/>
                  </a:lnTo>
                  <a:lnTo>
                    <a:pt x="6498" y="3300"/>
                  </a:lnTo>
                  <a:lnTo>
                    <a:pt x="5825" y="3199"/>
                  </a:lnTo>
                  <a:lnTo>
                    <a:pt x="5084" y="3132"/>
                  </a:lnTo>
                  <a:lnTo>
                    <a:pt x="4377" y="3098"/>
                  </a:lnTo>
                  <a:lnTo>
                    <a:pt x="3670" y="3098"/>
                  </a:lnTo>
                  <a:lnTo>
                    <a:pt x="3670" y="3064"/>
                  </a:lnTo>
                  <a:lnTo>
                    <a:pt x="3636" y="3031"/>
                  </a:lnTo>
                  <a:lnTo>
                    <a:pt x="2896" y="2627"/>
                  </a:lnTo>
                  <a:lnTo>
                    <a:pt x="2121" y="2256"/>
                  </a:lnTo>
                  <a:lnTo>
                    <a:pt x="1414" y="1852"/>
                  </a:lnTo>
                  <a:lnTo>
                    <a:pt x="1010" y="1650"/>
                  </a:lnTo>
                  <a:lnTo>
                    <a:pt x="640" y="1516"/>
                  </a:lnTo>
                  <a:lnTo>
                    <a:pt x="775" y="1280"/>
                  </a:lnTo>
                  <a:lnTo>
                    <a:pt x="943" y="1078"/>
                  </a:lnTo>
                  <a:lnTo>
                    <a:pt x="1111" y="876"/>
                  </a:lnTo>
                  <a:lnTo>
                    <a:pt x="1313" y="708"/>
                  </a:lnTo>
                  <a:lnTo>
                    <a:pt x="1515" y="539"/>
                  </a:lnTo>
                  <a:lnTo>
                    <a:pt x="1751" y="405"/>
                  </a:lnTo>
                  <a:lnTo>
                    <a:pt x="1987" y="304"/>
                  </a:lnTo>
                  <a:lnTo>
                    <a:pt x="2256" y="203"/>
                  </a:lnTo>
                  <a:close/>
                  <a:moveTo>
                    <a:pt x="573" y="1583"/>
                  </a:moveTo>
                  <a:lnTo>
                    <a:pt x="943" y="1819"/>
                  </a:lnTo>
                  <a:lnTo>
                    <a:pt x="1280" y="2021"/>
                  </a:lnTo>
                  <a:lnTo>
                    <a:pt x="2054" y="2425"/>
                  </a:lnTo>
                  <a:lnTo>
                    <a:pt x="2727" y="2795"/>
                  </a:lnTo>
                  <a:lnTo>
                    <a:pt x="3401" y="3132"/>
                  </a:lnTo>
                  <a:lnTo>
                    <a:pt x="2963" y="3165"/>
                  </a:lnTo>
                  <a:lnTo>
                    <a:pt x="2525" y="3266"/>
                  </a:lnTo>
                  <a:lnTo>
                    <a:pt x="2088" y="3367"/>
                  </a:lnTo>
                  <a:lnTo>
                    <a:pt x="1684" y="3502"/>
                  </a:lnTo>
                  <a:lnTo>
                    <a:pt x="1280" y="3637"/>
                  </a:lnTo>
                  <a:lnTo>
                    <a:pt x="876" y="3839"/>
                  </a:lnTo>
                  <a:lnTo>
                    <a:pt x="505" y="4074"/>
                  </a:lnTo>
                  <a:lnTo>
                    <a:pt x="169" y="4344"/>
                  </a:lnTo>
                  <a:lnTo>
                    <a:pt x="135" y="3805"/>
                  </a:lnTo>
                  <a:lnTo>
                    <a:pt x="169" y="3233"/>
                  </a:lnTo>
                  <a:lnTo>
                    <a:pt x="236" y="2728"/>
                  </a:lnTo>
                  <a:lnTo>
                    <a:pt x="337" y="2256"/>
                  </a:lnTo>
                  <a:lnTo>
                    <a:pt x="438" y="1920"/>
                  </a:lnTo>
                  <a:lnTo>
                    <a:pt x="573" y="1583"/>
                  </a:lnTo>
                  <a:close/>
                  <a:moveTo>
                    <a:pt x="4882" y="3334"/>
                  </a:moveTo>
                  <a:lnTo>
                    <a:pt x="5488" y="3401"/>
                  </a:lnTo>
                  <a:lnTo>
                    <a:pt x="6094" y="3468"/>
                  </a:lnTo>
                  <a:lnTo>
                    <a:pt x="6667" y="3569"/>
                  </a:lnTo>
                  <a:lnTo>
                    <a:pt x="7879" y="3839"/>
                  </a:lnTo>
                  <a:lnTo>
                    <a:pt x="9057" y="4108"/>
                  </a:lnTo>
                  <a:lnTo>
                    <a:pt x="8855" y="4512"/>
                  </a:lnTo>
                  <a:lnTo>
                    <a:pt x="8586" y="4916"/>
                  </a:lnTo>
                  <a:lnTo>
                    <a:pt x="8518" y="5017"/>
                  </a:lnTo>
                  <a:lnTo>
                    <a:pt x="8485" y="4983"/>
                  </a:lnTo>
                  <a:lnTo>
                    <a:pt x="8451" y="4983"/>
                  </a:lnTo>
                  <a:lnTo>
                    <a:pt x="7172" y="4647"/>
                  </a:lnTo>
                  <a:lnTo>
                    <a:pt x="5892" y="4344"/>
                  </a:lnTo>
                  <a:lnTo>
                    <a:pt x="5252" y="4209"/>
                  </a:lnTo>
                  <a:lnTo>
                    <a:pt x="4613" y="4074"/>
                  </a:lnTo>
                  <a:lnTo>
                    <a:pt x="4310" y="4007"/>
                  </a:lnTo>
                  <a:lnTo>
                    <a:pt x="3973" y="3973"/>
                  </a:lnTo>
                  <a:lnTo>
                    <a:pt x="3670" y="3940"/>
                  </a:lnTo>
                  <a:lnTo>
                    <a:pt x="3367" y="3973"/>
                  </a:lnTo>
                  <a:lnTo>
                    <a:pt x="3165" y="4007"/>
                  </a:lnTo>
                  <a:lnTo>
                    <a:pt x="2997" y="4074"/>
                  </a:lnTo>
                  <a:lnTo>
                    <a:pt x="2694" y="4209"/>
                  </a:lnTo>
                  <a:lnTo>
                    <a:pt x="2391" y="4411"/>
                  </a:lnTo>
                  <a:lnTo>
                    <a:pt x="2088" y="4613"/>
                  </a:lnTo>
                  <a:lnTo>
                    <a:pt x="1381" y="5118"/>
                  </a:lnTo>
                  <a:lnTo>
                    <a:pt x="640" y="5556"/>
                  </a:lnTo>
                  <a:lnTo>
                    <a:pt x="539" y="5455"/>
                  </a:lnTo>
                  <a:lnTo>
                    <a:pt x="404" y="5219"/>
                  </a:lnTo>
                  <a:lnTo>
                    <a:pt x="303" y="4983"/>
                  </a:lnTo>
                  <a:lnTo>
                    <a:pt x="236" y="4748"/>
                  </a:lnTo>
                  <a:lnTo>
                    <a:pt x="169" y="4478"/>
                  </a:lnTo>
                  <a:lnTo>
                    <a:pt x="674" y="4209"/>
                  </a:lnTo>
                  <a:lnTo>
                    <a:pt x="1145" y="3973"/>
                  </a:lnTo>
                  <a:lnTo>
                    <a:pt x="1650" y="3805"/>
                  </a:lnTo>
                  <a:lnTo>
                    <a:pt x="2155" y="3637"/>
                  </a:lnTo>
                  <a:lnTo>
                    <a:pt x="2660" y="3502"/>
                  </a:lnTo>
                  <a:lnTo>
                    <a:pt x="3165" y="3401"/>
                  </a:lnTo>
                  <a:lnTo>
                    <a:pt x="3704" y="3367"/>
                  </a:lnTo>
                  <a:lnTo>
                    <a:pt x="4276" y="3334"/>
                  </a:lnTo>
                  <a:close/>
                  <a:moveTo>
                    <a:pt x="3838" y="4108"/>
                  </a:moveTo>
                  <a:lnTo>
                    <a:pt x="4175" y="4142"/>
                  </a:lnTo>
                  <a:lnTo>
                    <a:pt x="4512" y="4209"/>
                  </a:lnTo>
                  <a:lnTo>
                    <a:pt x="5219" y="4377"/>
                  </a:lnTo>
                  <a:lnTo>
                    <a:pt x="5825" y="4546"/>
                  </a:lnTo>
                  <a:lnTo>
                    <a:pt x="7104" y="4849"/>
                  </a:lnTo>
                  <a:lnTo>
                    <a:pt x="8417" y="5152"/>
                  </a:lnTo>
                  <a:lnTo>
                    <a:pt x="8013" y="5690"/>
                  </a:lnTo>
                  <a:lnTo>
                    <a:pt x="7542" y="6195"/>
                  </a:lnTo>
                  <a:lnTo>
                    <a:pt x="7003" y="6633"/>
                  </a:lnTo>
                  <a:lnTo>
                    <a:pt x="6465" y="7003"/>
                  </a:lnTo>
                  <a:lnTo>
                    <a:pt x="6263" y="7105"/>
                  </a:lnTo>
                  <a:lnTo>
                    <a:pt x="6094" y="7206"/>
                  </a:lnTo>
                  <a:lnTo>
                    <a:pt x="5690" y="7307"/>
                  </a:lnTo>
                  <a:lnTo>
                    <a:pt x="5252" y="7340"/>
                  </a:lnTo>
                  <a:lnTo>
                    <a:pt x="4848" y="7307"/>
                  </a:lnTo>
                  <a:lnTo>
                    <a:pt x="4411" y="7273"/>
                  </a:lnTo>
                  <a:lnTo>
                    <a:pt x="4007" y="7172"/>
                  </a:lnTo>
                  <a:lnTo>
                    <a:pt x="3199" y="6936"/>
                  </a:lnTo>
                  <a:lnTo>
                    <a:pt x="2525" y="6734"/>
                  </a:lnTo>
                  <a:lnTo>
                    <a:pt x="1886" y="6465"/>
                  </a:lnTo>
                  <a:lnTo>
                    <a:pt x="1549" y="6296"/>
                  </a:lnTo>
                  <a:lnTo>
                    <a:pt x="1246" y="6128"/>
                  </a:lnTo>
                  <a:lnTo>
                    <a:pt x="977" y="5926"/>
                  </a:lnTo>
                  <a:lnTo>
                    <a:pt x="741" y="5657"/>
                  </a:lnTo>
                  <a:lnTo>
                    <a:pt x="1044" y="5589"/>
                  </a:lnTo>
                  <a:lnTo>
                    <a:pt x="1381" y="5421"/>
                  </a:lnTo>
                  <a:lnTo>
                    <a:pt x="1684" y="5219"/>
                  </a:lnTo>
                  <a:lnTo>
                    <a:pt x="1987" y="4983"/>
                  </a:lnTo>
                  <a:lnTo>
                    <a:pt x="2593" y="4512"/>
                  </a:lnTo>
                  <a:lnTo>
                    <a:pt x="2896" y="4344"/>
                  </a:lnTo>
                  <a:lnTo>
                    <a:pt x="3199" y="4209"/>
                  </a:lnTo>
                  <a:lnTo>
                    <a:pt x="3502" y="4142"/>
                  </a:lnTo>
                  <a:lnTo>
                    <a:pt x="3838" y="4108"/>
                  </a:lnTo>
                  <a:close/>
                  <a:moveTo>
                    <a:pt x="2323" y="1"/>
                  </a:moveTo>
                  <a:lnTo>
                    <a:pt x="1953" y="68"/>
                  </a:lnTo>
                  <a:lnTo>
                    <a:pt x="1616" y="169"/>
                  </a:lnTo>
                  <a:lnTo>
                    <a:pt x="1313" y="337"/>
                  </a:lnTo>
                  <a:lnTo>
                    <a:pt x="1044" y="573"/>
                  </a:lnTo>
                  <a:lnTo>
                    <a:pt x="808" y="842"/>
                  </a:lnTo>
                  <a:lnTo>
                    <a:pt x="606" y="1145"/>
                  </a:lnTo>
                  <a:lnTo>
                    <a:pt x="438" y="1482"/>
                  </a:lnTo>
                  <a:lnTo>
                    <a:pt x="303" y="1819"/>
                  </a:lnTo>
                  <a:lnTo>
                    <a:pt x="202" y="2189"/>
                  </a:lnTo>
                  <a:lnTo>
                    <a:pt x="101" y="2593"/>
                  </a:lnTo>
                  <a:lnTo>
                    <a:pt x="34" y="2963"/>
                  </a:lnTo>
                  <a:lnTo>
                    <a:pt x="0" y="3367"/>
                  </a:lnTo>
                  <a:lnTo>
                    <a:pt x="0" y="3738"/>
                  </a:lnTo>
                  <a:lnTo>
                    <a:pt x="0" y="4445"/>
                  </a:lnTo>
                  <a:lnTo>
                    <a:pt x="0" y="4478"/>
                  </a:lnTo>
                  <a:lnTo>
                    <a:pt x="0" y="4512"/>
                  </a:lnTo>
                  <a:lnTo>
                    <a:pt x="0" y="4546"/>
                  </a:lnTo>
                  <a:lnTo>
                    <a:pt x="34" y="4781"/>
                  </a:lnTo>
                  <a:lnTo>
                    <a:pt x="68" y="4950"/>
                  </a:lnTo>
                  <a:lnTo>
                    <a:pt x="135" y="5152"/>
                  </a:lnTo>
                  <a:lnTo>
                    <a:pt x="303" y="5455"/>
                  </a:lnTo>
                  <a:lnTo>
                    <a:pt x="539" y="5758"/>
                  </a:lnTo>
                  <a:lnTo>
                    <a:pt x="808" y="6027"/>
                  </a:lnTo>
                  <a:lnTo>
                    <a:pt x="1111" y="6263"/>
                  </a:lnTo>
                  <a:lnTo>
                    <a:pt x="1414" y="6465"/>
                  </a:lnTo>
                  <a:lnTo>
                    <a:pt x="1751" y="6633"/>
                  </a:lnTo>
                  <a:lnTo>
                    <a:pt x="2088" y="6768"/>
                  </a:lnTo>
                  <a:lnTo>
                    <a:pt x="2929" y="7105"/>
                  </a:lnTo>
                  <a:lnTo>
                    <a:pt x="3401" y="7273"/>
                  </a:lnTo>
                  <a:lnTo>
                    <a:pt x="3872" y="7374"/>
                  </a:lnTo>
                  <a:lnTo>
                    <a:pt x="4343" y="7475"/>
                  </a:lnTo>
                  <a:lnTo>
                    <a:pt x="4815" y="7542"/>
                  </a:lnTo>
                  <a:lnTo>
                    <a:pt x="5286" y="7542"/>
                  </a:lnTo>
                  <a:lnTo>
                    <a:pt x="5724" y="7475"/>
                  </a:lnTo>
                  <a:lnTo>
                    <a:pt x="6162" y="7374"/>
                  </a:lnTo>
                  <a:lnTo>
                    <a:pt x="6532" y="7172"/>
                  </a:lnTo>
                  <a:lnTo>
                    <a:pt x="6936" y="6970"/>
                  </a:lnTo>
                  <a:lnTo>
                    <a:pt x="7273" y="6700"/>
                  </a:lnTo>
                  <a:lnTo>
                    <a:pt x="7609" y="6397"/>
                  </a:lnTo>
                  <a:lnTo>
                    <a:pt x="7912" y="6061"/>
                  </a:lnTo>
                  <a:lnTo>
                    <a:pt x="8485" y="5387"/>
                  </a:lnTo>
                  <a:lnTo>
                    <a:pt x="8720" y="5118"/>
                  </a:lnTo>
                  <a:lnTo>
                    <a:pt x="8922" y="4781"/>
                  </a:lnTo>
                  <a:lnTo>
                    <a:pt x="9124" y="4411"/>
                  </a:lnTo>
                  <a:lnTo>
                    <a:pt x="9293" y="4041"/>
                  </a:lnTo>
                  <a:lnTo>
                    <a:pt x="9394" y="4041"/>
                  </a:lnTo>
                  <a:lnTo>
                    <a:pt x="9461" y="3973"/>
                  </a:lnTo>
                  <a:lnTo>
                    <a:pt x="9461" y="3872"/>
                  </a:lnTo>
                  <a:lnTo>
                    <a:pt x="9461" y="3839"/>
                  </a:lnTo>
                  <a:lnTo>
                    <a:pt x="9427" y="3805"/>
                  </a:lnTo>
                  <a:lnTo>
                    <a:pt x="9394" y="3771"/>
                  </a:lnTo>
                  <a:lnTo>
                    <a:pt x="9427" y="3502"/>
                  </a:lnTo>
                  <a:lnTo>
                    <a:pt x="9427" y="3233"/>
                  </a:lnTo>
                  <a:lnTo>
                    <a:pt x="9394" y="2997"/>
                  </a:lnTo>
                  <a:lnTo>
                    <a:pt x="9293" y="2728"/>
                  </a:lnTo>
                  <a:lnTo>
                    <a:pt x="9192" y="2559"/>
                  </a:lnTo>
                  <a:lnTo>
                    <a:pt x="9091" y="2391"/>
                  </a:lnTo>
                  <a:lnTo>
                    <a:pt x="8788" y="2122"/>
                  </a:lnTo>
                  <a:lnTo>
                    <a:pt x="8451" y="1852"/>
                  </a:lnTo>
                  <a:lnTo>
                    <a:pt x="8081" y="1650"/>
                  </a:lnTo>
                  <a:lnTo>
                    <a:pt x="7677" y="1448"/>
                  </a:lnTo>
                  <a:lnTo>
                    <a:pt x="7273" y="1280"/>
                  </a:lnTo>
                  <a:lnTo>
                    <a:pt x="6498" y="1011"/>
                  </a:lnTo>
                  <a:lnTo>
                    <a:pt x="5589" y="674"/>
                  </a:lnTo>
                  <a:lnTo>
                    <a:pt x="4646" y="438"/>
                  </a:lnTo>
                  <a:lnTo>
                    <a:pt x="3704" y="236"/>
                  </a:lnTo>
                  <a:lnTo>
                    <a:pt x="2761" y="102"/>
                  </a:lnTo>
                  <a:lnTo>
                    <a:pt x="2761" y="34"/>
                  </a:lnTo>
                  <a:lnTo>
                    <a:pt x="272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88" name="Google Shape;688;p5"/>
            <p:cNvSpPr/>
            <p:nvPr/>
          </p:nvSpPr>
          <p:spPr>
            <a:xfrm>
              <a:off x="1625509" y="4780661"/>
              <a:ext cx="427776" cy="372423"/>
            </a:xfrm>
            <a:custGeom>
              <a:avLst/>
              <a:gdLst/>
              <a:ahLst/>
              <a:cxnLst/>
              <a:rect l="l" t="t" r="r" b="b"/>
              <a:pathLst>
                <a:path w="8586" h="7475" extrusionOk="0">
                  <a:moveTo>
                    <a:pt x="1582" y="169"/>
                  </a:moveTo>
                  <a:lnTo>
                    <a:pt x="1986" y="236"/>
                  </a:lnTo>
                  <a:lnTo>
                    <a:pt x="2357" y="337"/>
                  </a:lnTo>
                  <a:lnTo>
                    <a:pt x="2761" y="438"/>
                  </a:lnTo>
                  <a:lnTo>
                    <a:pt x="3535" y="708"/>
                  </a:lnTo>
                  <a:lnTo>
                    <a:pt x="4310" y="1011"/>
                  </a:lnTo>
                  <a:lnTo>
                    <a:pt x="5993" y="1684"/>
                  </a:lnTo>
                  <a:lnTo>
                    <a:pt x="7676" y="2458"/>
                  </a:lnTo>
                  <a:lnTo>
                    <a:pt x="7811" y="2526"/>
                  </a:lnTo>
                  <a:lnTo>
                    <a:pt x="7946" y="2627"/>
                  </a:lnTo>
                  <a:lnTo>
                    <a:pt x="8148" y="2829"/>
                  </a:lnTo>
                  <a:lnTo>
                    <a:pt x="8282" y="3098"/>
                  </a:lnTo>
                  <a:lnTo>
                    <a:pt x="8350" y="3368"/>
                  </a:lnTo>
                  <a:lnTo>
                    <a:pt x="8383" y="3671"/>
                  </a:lnTo>
                  <a:lnTo>
                    <a:pt x="8350" y="4007"/>
                  </a:lnTo>
                  <a:lnTo>
                    <a:pt x="8316" y="4344"/>
                  </a:lnTo>
                  <a:lnTo>
                    <a:pt x="8249" y="4681"/>
                  </a:lnTo>
                  <a:lnTo>
                    <a:pt x="7272" y="4344"/>
                  </a:lnTo>
                  <a:lnTo>
                    <a:pt x="6296" y="4007"/>
                  </a:lnTo>
                  <a:lnTo>
                    <a:pt x="4343" y="3401"/>
                  </a:lnTo>
                  <a:lnTo>
                    <a:pt x="3367" y="3064"/>
                  </a:lnTo>
                  <a:lnTo>
                    <a:pt x="2357" y="2728"/>
                  </a:lnTo>
                  <a:lnTo>
                    <a:pt x="1347" y="2425"/>
                  </a:lnTo>
                  <a:lnTo>
                    <a:pt x="842" y="2290"/>
                  </a:lnTo>
                  <a:lnTo>
                    <a:pt x="337" y="2189"/>
                  </a:lnTo>
                  <a:lnTo>
                    <a:pt x="370" y="1852"/>
                  </a:lnTo>
                  <a:lnTo>
                    <a:pt x="471" y="1549"/>
                  </a:lnTo>
                  <a:lnTo>
                    <a:pt x="572" y="1246"/>
                  </a:lnTo>
                  <a:lnTo>
                    <a:pt x="707" y="943"/>
                  </a:lnTo>
                  <a:lnTo>
                    <a:pt x="1448" y="1213"/>
                  </a:lnTo>
                  <a:lnTo>
                    <a:pt x="2188" y="1482"/>
                  </a:lnTo>
                  <a:lnTo>
                    <a:pt x="2660" y="1650"/>
                  </a:lnTo>
                  <a:lnTo>
                    <a:pt x="3131" y="1751"/>
                  </a:lnTo>
                  <a:lnTo>
                    <a:pt x="4108" y="1920"/>
                  </a:lnTo>
                  <a:lnTo>
                    <a:pt x="5084" y="2122"/>
                  </a:lnTo>
                  <a:lnTo>
                    <a:pt x="5993" y="2324"/>
                  </a:lnTo>
                  <a:lnTo>
                    <a:pt x="7878" y="2795"/>
                  </a:lnTo>
                  <a:lnTo>
                    <a:pt x="7946" y="2795"/>
                  </a:lnTo>
                  <a:lnTo>
                    <a:pt x="7979" y="2728"/>
                  </a:lnTo>
                  <a:lnTo>
                    <a:pt x="7979" y="2694"/>
                  </a:lnTo>
                  <a:lnTo>
                    <a:pt x="7946" y="2627"/>
                  </a:lnTo>
                  <a:lnTo>
                    <a:pt x="7003" y="2357"/>
                  </a:lnTo>
                  <a:lnTo>
                    <a:pt x="6060" y="2122"/>
                  </a:lnTo>
                  <a:lnTo>
                    <a:pt x="5118" y="1920"/>
                  </a:lnTo>
                  <a:lnTo>
                    <a:pt x="4175" y="1751"/>
                  </a:lnTo>
                  <a:lnTo>
                    <a:pt x="3300" y="1583"/>
                  </a:lnTo>
                  <a:lnTo>
                    <a:pt x="2896" y="1516"/>
                  </a:lnTo>
                  <a:lnTo>
                    <a:pt x="2458" y="1381"/>
                  </a:lnTo>
                  <a:lnTo>
                    <a:pt x="2054" y="1246"/>
                  </a:lnTo>
                  <a:lnTo>
                    <a:pt x="1616" y="1078"/>
                  </a:lnTo>
                  <a:lnTo>
                    <a:pt x="1178" y="910"/>
                  </a:lnTo>
                  <a:lnTo>
                    <a:pt x="741" y="809"/>
                  </a:lnTo>
                  <a:lnTo>
                    <a:pt x="943" y="472"/>
                  </a:lnTo>
                  <a:lnTo>
                    <a:pt x="1145" y="169"/>
                  </a:lnTo>
                  <a:close/>
                  <a:moveTo>
                    <a:pt x="1212" y="1"/>
                  </a:moveTo>
                  <a:lnTo>
                    <a:pt x="1178" y="34"/>
                  </a:lnTo>
                  <a:lnTo>
                    <a:pt x="1077" y="34"/>
                  </a:lnTo>
                  <a:lnTo>
                    <a:pt x="1010" y="68"/>
                  </a:lnTo>
                  <a:lnTo>
                    <a:pt x="1044" y="135"/>
                  </a:lnTo>
                  <a:lnTo>
                    <a:pt x="842" y="337"/>
                  </a:lnTo>
                  <a:lnTo>
                    <a:pt x="673" y="539"/>
                  </a:lnTo>
                  <a:lnTo>
                    <a:pt x="539" y="775"/>
                  </a:lnTo>
                  <a:lnTo>
                    <a:pt x="404" y="1044"/>
                  </a:lnTo>
                  <a:lnTo>
                    <a:pt x="303" y="1314"/>
                  </a:lnTo>
                  <a:lnTo>
                    <a:pt x="202" y="1617"/>
                  </a:lnTo>
                  <a:lnTo>
                    <a:pt x="67" y="2189"/>
                  </a:lnTo>
                  <a:lnTo>
                    <a:pt x="0" y="2829"/>
                  </a:lnTo>
                  <a:lnTo>
                    <a:pt x="0" y="3435"/>
                  </a:lnTo>
                  <a:lnTo>
                    <a:pt x="34" y="4007"/>
                  </a:lnTo>
                  <a:lnTo>
                    <a:pt x="101" y="4512"/>
                  </a:lnTo>
                  <a:lnTo>
                    <a:pt x="202" y="4849"/>
                  </a:lnTo>
                  <a:lnTo>
                    <a:pt x="303" y="5186"/>
                  </a:lnTo>
                  <a:lnTo>
                    <a:pt x="438" y="5489"/>
                  </a:lnTo>
                  <a:lnTo>
                    <a:pt x="572" y="5792"/>
                  </a:lnTo>
                  <a:lnTo>
                    <a:pt x="774" y="6061"/>
                  </a:lnTo>
                  <a:lnTo>
                    <a:pt x="976" y="6330"/>
                  </a:lnTo>
                  <a:lnTo>
                    <a:pt x="1212" y="6566"/>
                  </a:lnTo>
                  <a:lnTo>
                    <a:pt x="1481" y="6802"/>
                  </a:lnTo>
                  <a:lnTo>
                    <a:pt x="1919" y="7172"/>
                  </a:lnTo>
                  <a:lnTo>
                    <a:pt x="2390" y="7475"/>
                  </a:lnTo>
                  <a:lnTo>
                    <a:pt x="2896" y="7475"/>
                  </a:lnTo>
                  <a:lnTo>
                    <a:pt x="2559" y="7307"/>
                  </a:lnTo>
                  <a:lnTo>
                    <a:pt x="2256" y="7105"/>
                  </a:lnTo>
                  <a:lnTo>
                    <a:pt x="1919" y="6869"/>
                  </a:lnTo>
                  <a:lnTo>
                    <a:pt x="1616" y="6633"/>
                  </a:lnTo>
                  <a:lnTo>
                    <a:pt x="1347" y="6364"/>
                  </a:lnTo>
                  <a:lnTo>
                    <a:pt x="1111" y="6095"/>
                  </a:lnTo>
                  <a:lnTo>
                    <a:pt x="875" y="5792"/>
                  </a:lnTo>
                  <a:lnTo>
                    <a:pt x="673" y="5455"/>
                  </a:lnTo>
                  <a:lnTo>
                    <a:pt x="539" y="5152"/>
                  </a:lnTo>
                  <a:lnTo>
                    <a:pt x="404" y="4849"/>
                  </a:lnTo>
                  <a:lnTo>
                    <a:pt x="337" y="4546"/>
                  </a:lnTo>
                  <a:lnTo>
                    <a:pt x="303" y="4209"/>
                  </a:lnTo>
                  <a:lnTo>
                    <a:pt x="269" y="3536"/>
                  </a:lnTo>
                  <a:lnTo>
                    <a:pt x="269" y="2862"/>
                  </a:lnTo>
                  <a:lnTo>
                    <a:pt x="640" y="3165"/>
                  </a:lnTo>
                  <a:lnTo>
                    <a:pt x="1010" y="3401"/>
                  </a:lnTo>
                  <a:lnTo>
                    <a:pt x="1818" y="3906"/>
                  </a:lnTo>
                  <a:lnTo>
                    <a:pt x="2626" y="4344"/>
                  </a:lnTo>
                  <a:lnTo>
                    <a:pt x="3401" y="4815"/>
                  </a:lnTo>
                  <a:lnTo>
                    <a:pt x="3838" y="5118"/>
                  </a:lnTo>
                  <a:lnTo>
                    <a:pt x="4242" y="5421"/>
                  </a:lnTo>
                  <a:lnTo>
                    <a:pt x="4411" y="5590"/>
                  </a:lnTo>
                  <a:lnTo>
                    <a:pt x="4545" y="5792"/>
                  </a:lnTo>
                  <a:lnTo>
                    <a:pt x="4680" y="5994"/>
                  </a:lnTo>
                  <a:lnTo>
                    <a:pt x="4781" y="6263"/>
                  </a:lnTo>
                  <a:lnTo>
                    <a:pt x="4882" y="6532"/>
                  </a:lnTo>
                  <a:lnTo>
                    <a:pt x="4916" y="6869"/>
                  </a:lnTo>
                  <a:lnTo>
                    <a:pt x="4949" y="7475"/>
                  </a:lnTo>
                  <a:lnTo>
                    <a:pt x="5219" y="7475"/>
                  </a:lnTo>
                  <a:lnTo>
                    <a:pt x="5219" y="7138"/>
                  </a:lnTo>
                  <a:lnTo>
                    <a:pt x="5185" y="6802"/>
                  </a:lnTo>
                  <a:lnTo>
                    <a:pt x="5118" y="6465"/>
                  </a:lnTo>
                  <a:lnTo>
                    <a:pt x="5017" y="6128"/>
                  </a:lnTo>
                  <a:lnTo>
                    <a:pt x="4882" y="5825"/>
                  </a:lnTo>
                  <a:lnTo>
                    <a:pt x="4714" y="5522"/>
                  </a:lnTo>
                  <a:lnTo>
                    <a:pt x="4512" y="5287"/>
                  </a:lnTo>
                  <a:lnTo>
                    <a:pt x="4242" y="5051"/>
                  </a:lnTo>
                  <a:lnTo>
                    <a:pt x="3300" y="4445"/>
                  </a:lnTo>
                  <a:lnTo>
                    <a:pt x="2323" y="3873"/>
                  </a:lnTo>
                  <a:lnTo>
                    <a:pt x="1347" y="3267"/>
                  </a:lnTo>
                  <a:lnTo>
                    <a:pt x="842" y="2997"/>
                  </a:lnTo>
                  <a:lnTo>
                    <a:pt x="303" y="2761"/>
                  </a:lnTo>
                  <a:lnTo>
                    <a:pt x="269" y="2761"/>
                  </a:lnTo>
                  <a:lnTo>
                    <a:pt x="303" y="2256"/>
                  </a:lnTo>
                  <a:lnTo>
                    <a:pt x="741" y="2492"/>
                  </a:lnTo>
                  <a:lnTo>
                    <a:pt x="1212" y="2660"/>
                  </a:lnTo>
                  <a:lnTo>
                    <a:pt x="2155" y="2963"/>
                  </a:lnTo>
                  <a:lnTo>
                    <a:pt x="3131" y="3267"/>
                  </a:lnTo>
                  <a:lnTo>
                    <a:pt x="4040" y="3536"/>
                  </a:lnTo>
                  <a:lnTo>
                    <a:pt x="4276" y="3603"/>
                  </a:lnTo>
                  <a:lnTo>
                    <a:pt x="4444" y="3772"/>
                  </a:lnTo>
                  <a:lnTo>
                    <a:pt x="4613" y="3974"/>
                  </a:lnTo>
                  <a:lnTo>
                    <a:pt x="4848" y="4277"/>
                  </a:lnTo>
                  <a:lnTo>
                    <a:pt x="5252" y="4782"/>
                  </a:lnTo>
                  <a:lnTo>
                    <a:pt x="5623" y="5320"/>
                  </a:lnTo>
                  <a:lnTo>
                    <a:pt x="5892" y="5825"/>
                  </a:lnTo>
                  <a:lnTo>
                    <a:pt x="6128" y="6364"/>
                  </a:lnTo>
                  <a:lnTo>
                    <a:pt x="6262" y="6903"/>
                  </a:lnTo>
                  <a:lnTo>
                    <a:pt x="6330" y="7475"/>
                  </a:lnTo>
                  <a:lnTo>
                    <a:pt x="6565" y="7475"/>
                  </a:lnTo>
                  <a:lnTo>
                    <a:pt x="6532" y="7138"/>
                  </a:lnTo>
                  <a:lnTo>
                    <a:pt x="6464" y="6835"/>
                  </a:lnTo>
                  <a:lnTo>
                    <a:pt x="6397" y="6499"/>
                  </a:lnTo>
                  <a:lnTo>
                    <a:pt x="6296" y="6196"/>
                  </a:lnTo>
                  <a:lnTo>
                    <a:pt x="6027" y="5590"/>
                  </a:lnTo>
                  <a:lnTo>
                    <a:pt x="5690" y="5017"/>
                  </a:lnTo>
                  <a:lnTo>
                    <a:pt x="5286" y="4411"/>
                  </a:lnTo>
                  <a:lnTo>
                    <a:pt x="5017" y="4075"/>
                  </a:lnTo>
                  <a:lnTo>
                    <a:pt x="4747" y="3772"/>
                  </a:lnTo>
                  <a:lnTo>
                    <a:pt x="4747" y="3772"/>
                  </a:lnTo>
                  <a:lnTo>
                    <a:pt x="6464" y="4344"/>
                  </a:lnTo>
                  <a:lnTo>
                    <a:pt x="7340" y="4613"/>
                  </a:lnTo>
                  <a:lnTo>
                    <a:pt x="8181" y="4883"/>
                  </a:lnTo>
                  <a:lnTo>
                    <a:pt x="8013" y="5489"/>
                  </a:lnTo>
                  <a:lnTo>
                    <a:pt x="7845" y="5994"/>
                  </a:lnTo>
                  <a:lnTo>
                    <a:pt x="7710" y="6364"/>
                  </a:lnTo>
                  <a:lnTo>
                    <a:pt x="7542" y="6768"/>
                  </a:lnTo>
                  <a:lnTo>
                    <a:pt x="7171" y="7475"/>
                  </a:lnTo>
                  <a:lnTo>
                    <a:pt x="7441" y="7475"/>
                  </a:lnTo>
                  <a:lnTo>
                    <a:pt x="7777" y="6633"/>
                  </a:lnTo>
                  <a:lnTo>
                    <a:pt x="8080" y="5825"/>
                  </a:lnTo>
                  <a:lnTo>
                    <a:pt x="8383" y="4883"/>
                  </a:lnTo>
                  <a:lnTo>
                    <a:pt x="8417" y="4849"/>
                  </a:lnTo>
                  <a:lnTo>
                    <a:pt x="8417" y="4748"/>
                  </a:lnTo>
                  <a:lnTo>
                    <a:pt x="8552" y="4209"/>
                  </a:lnTo>
                  <a:lnTo>
                    <a:pt x="8585" y="3906"/>
                  </a:lnTo>
                  <a:lnTo>
                    <a:pt x="8585" y="3637"/>
                  </a:lnTo>
                  <a:lnTo>
                    <a:pt x="8552" y="3368"/>
                  </a:lnTo>
                  <a:lnTo>
                    <a:pt x="8518" y="3132"/>
                  </a:lnTo>
                  <a:lnTo>
                    <a:pt x="8417" y="2862"/>
                  </a:lnTo>
                  <a:lnTo>
                    <a:pt x="8282" y="2660"/>
                  </a:lnTo>
                  <a:lnTo>
                    <a:pt x="8148" y="2492"/>
                  </a:lnTo>
                  <a:lnTo>
                    <a:pt x="8013" y="2391"/>
                  </a:lnTo>
                  <a:lnTo>
                    <a:pt x="7643" y="2189"/>
                  </a:lnTo>
                  <a:lnTo>
                    <a:pt x="6902" y="1886"/>
                  </a:lnTo>
                  <a:lnTo>
                    <a:pt x="5050" y="1078"/>
                  </a:lnTo>
                  <a:lnTo>
                    <a:pt x="4175" y="708"/>
                  </a:lnTo>
                  <a:lnTo>
                    <a:pt x="3704" y="506"/>
                  </a:lnTo>
                  <a:lnTo>
                    <a:pt x="3199" y="304"/>
                  </a:lnTo>
                  <a:lnTo>
                    <a:pt x="2727" y="169"/>
                  </a:lnTo>
                  <a:lnTo>
                    <a:pt x="2222" y="34"/>
                  </a:lnTo>
                  <a:lnTo>
                    <a:pt x="171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689" name="Google Shape;689;p5"/>
          <p:cNvGrpSpPr/>
          <p:nvPr/>
        </p:nvGrpSpPr>
        <p:grpSpPr>
          <a:xfrm>
            <a:off x="456375" y="5577984"/>
            <a:ext cx="492047" cy="970741"/>
            <a:chOff x="342281" y="4183488"/>
            <a:chExt cx="369035" cy="728056"/>
          </a:xfrm>
        </p:grpSpPr>
        <p:sp>
          <p:nvSpPr>
            <p:cNvPr id="690" name="Google Shape;690;p5"/>
            <p:cNvSpPr/>
            <p:nvPr/>
          </p:nvSpPr>
          <p:spPr>
            <a:xfrm>
              <a:off x="385875" y="4691777"/>
              <a:ext cx="77225" cy="211397"/>
            </a:xfrm>
            <a:custGeom>
              <a:avLst/>
              <a:gdLst/>
              <a:ahLst/>
              <a:cxnLst/>
              <a:rect l="l" t="t" r="r" b="b"/>
              <a:pathLst>
                <a:path w="1550" h="4243" extrusionOk="0">
                  <a:moveTo>
                    <a:pt x="1515" y="0"/>
                  </a:moveTo>
                  <a:lnTo>
                    <a:pt x="1515" y="34"/>
                  </a:lnTo>
                  <a:lnTo>
                    <a:pt x="741" y="2088"/>
                  </a:lnTo>
                  <a:lnTo>
                    <a:pt x="337" y="3131"/>
                  </a:lnTo>
                  <a:lnTo>
                    <a:pt x="0" y="4175"/>
                  </a:lnTo>
                  <a:lnTo>
                    <a:pt x="0" y="4209"/>
                  </a:lnTo>
                  <a:lnTo>
                    <a:pt x="34" y="4242"/>
                  </a:lnTo>
                  <a:lnTo>
                    <a:pt x="68" y="4242"/>
                  </a:lnTo>
                  <a:lnTo>
                    <a:pt x="68" y="4209"/>
                  </a:lnTo>
                  <a:lnTo>
                    <a:pt x="505" y="3131"/>
                  </a:lnTo>
                  <a:lnTo>
                    <a:pt x="909" y="2020"/>
                  </a:lnTo>
                  <a:lnTo>
                    <a:pt x="1145" y="1549"/>
                  </a:lnTo>
                  <a:lnTo>
                    <a:pt x="1347" y="1044"/>
                  </a:lnTo>
                  <a:lnTo>
                    <a:pt x="1448" y="775"/>
                  </a:lnTo>
                  <a:lnTo>
                    <a:pt x="1549" y="505"/>
                  </a:lnTo>
                  <a:lnTo>
                    <a:pt x="1549" y="270"/>
                  </a:lnTo>
                  <a:lnTo>
                    <a:pt x="1549" y="34"/>
                  </a:lnTo>
                  <a:lnTo>
                    <a:pt x="151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1" name="Google Shape;691;p5"/>
            <p:cNvSpPr/>
            <p:nvPr/>
          </p:nvSpPr>
          <p:spPr>
            <a:xfrm>
              <a:off x="560304" y="4300920"/>
              <a:ext cx="129240" cy="83951"/>
            </a:xfrm>
            <a:custGeom>
              <a:avLst/>
              <a:gdLst/>
              <a:ahLst/>
              <a:cxnLst/>
              <a:rect l="l" t="t" r="r" b="b"/>
              <a:pathLst>
                <a:path w="2594" h="1685" extrusionOk="0">
                  <a:moveTo>
                    <a:pt x="2560" y="1"/>
                  </a:moveTo>
                  <a:lnTo>
                    <a:pt x="2526" y="34"/>
                  </a:lnTo>
                  <a:lnTo>
                    <a:pt x="2391" y="270"/>
                  </a:lnTo>
                  <a:lnTo>
                    <a:pt x="2223" y="539"/>
                  </a:lnTo>
                  <a:lnTo>
                    <a:pt x="2088" y="809"/>
                  </a:lnTo>
                  <a:lnTo>
                    <a:pt x="1886" y="1078"/>
                  </a:lnTo>
                  <a:lnTo>
                    <a:pt x="1651" y="1246"/>
                  </a:lnTo>
                  <a:lnTo>
                    <a:pt x="1381" y="1381"/>
                  </a:lnTo>
                  <a:lnTo>
                    <a:pt x="1146" y="1448"/>
                  </a:lnTo>
                  <a:lnTo>
                    <a:pt x="876" y="1448"/>
                  </a:lnTo>
                  <a:lnTo>
                    <a:pt x="641" y="1381"/>
                  </a:lnTo>
                  <a:lnTo>
                    <a:pt x="405" y="1246"/>
                  </a:lnTo>
                  <a:lnTo>
                    <a:pt x="304" y="1145"/>
                  </a:lnTo>
                  <a:lnTo>
                    <a:pt x="237" y="1044"/>
                  </a:lnTo>
                  <a:lnTo>
                    <a:pt x="169" y="910"/>
                  </a:lnTo>
                  <a:lnTo>
                    <a:pt x="102" y="741"/>
                  </a:lnTo>
                  <a:lnTo>
                    <a:pt x="68" y="708"/>
                  </a:lnTo>
                  <a:lnTo>
                    <a:pt x="35" y="708"/>
                  </a:lnTo>
                  <a:lnTo>
                    <a:pt x="35" y="741"/>
                  </a:lnTo>
                  <a:lnTo>
                    <a:pt x="1" y="876"/>
                  </a:lnTo>
                  <a:lnTo>
                    <a:pt x="1" y="977"/>
                  </a:lnTo>
                  <a:lnTo>
                    <a:pt x="68" y="1179"/>
                  </a:lnTo>
                  <a:lnTo>
                    <a:pt x="203" y="1347"/>
                  </a:lnTo>
                  <a:lnTo>
                    <a:pt x="371" y="1482"/>
                  </a:lnTo>
                  <a:lnTo>
                    <a:pt x="573" y="1583"/>
                  </a:lnTo>
                  <a:lnTo>
                    <a:pt x="775" y="1650"/>
                  </a:lnTo>
                  <a:lnTo>
                    <a:pt x="1011" y="1684"/>
                  </a:lnTo>
                  <a:lnTo>
                    <a:pt x="1213" y="1684"/>
                  </a:lnTo>
                  <a:lnTo>
                    <a:pt x="1449" y="1617"/>
                  </a:lnTo>
                  <a:lnTo>
                    <a:pt x="1684" y="1482"/>
                  </a:lnTo>
                  <a:lnTo>
                    <a:pt x="1954" y="1280"/>
                  </a:lnTo>
                  <a:lnTo>
                    <a:pt x="2156" y="1078"/>
                  </a:lnTo>
                  <a:lnTo>
                    <a:pt x="2358" y="809"/>
                  </a:lnTo>
                  <a:lnTo>
                    <a:pt x="2492" y="573"/>
                  </a:lnTo>
                  <a:lnTo>
                    <a:pt x="2593" y="304"/>
                  </a:lnTo>
                  <a:lnTo>
                    <a:pt x="2593" y="34"/>
                  </a:lnTo>
                  <a:lnTo>
                    <a:pt x="256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2" name="Google Shape;692;p5"/>
            <p:cNvSpPr/>
            <p:nvPr/>
          </p:nvSpPr>
          <p:spPr>
            <a:xfrm>
              <a:off x="342281" y="4183488"/>
              <a:ext cx="369035" cy="728056"/>
            </a:xfrm>
            <a:custGeom>
              <a:avLst/>
              <a:gdLst/>
              <a:ahLst/>
              <a:cxnLst/>
              <a:rect l="l" t="t" r="r" b="b"/>
              <a:pathLst>
                <a:path w="7407" h="14613" extrusionOk="0">
                  <a:moveTo>
                    <a:pt x="5993" y="1"/>
                  </a:moveTo>
                  <a:lnTo>
                    <a:pt x="5825" y="35"/>
                  </a:lnTo>
                  <a:lnTo>
                    <a:pt x="5656" y="102"/>
                  </a:lnTo>
                  <a:lnTo>
                    <a:pt x="5488" y="169"/>
                  </a:lnTo>
                  <a:lnTo>
                    <a:pt x="5185" y="405"/>
                  </a:lnTo>
                  <a:lnTo>
                    <a:pt x="4916" y="674"/>
                  </a:lnTo>
                  <a:lnTo>
                    <a:pt x="4680" y="1011"/>
                  </a:lnTo>
                  <a:lnTo>
                    <a:pt x="4478" y="1348"/>
                  </a:lnTo>
                  <a:lnTo>
                    <a:pt x="4276" y="1651"/>
                  </a:lnTo>
                  <a:lnTo>
                    <a:pt x="4141" y="2021"/>
                  </a:lnTo>
                  <a:lnTo>
                    <a:pt x="4040" y="2391"/>
                  </a:lnTo>
                  <a:lnTo>
                    <a:pt x="3973" y="2762"/>
                  </a:lnTo>
                  <a:lnTo>
                    <a:pt x="3973" y="3132"/>
                  </a:lnTo>
                  <a:lnTo>
                    <a:pt x="4007" y="3368"/>
                  </a:lnTo>
                  <a:lnTo>
                    <a:pt x="4040" y="3570"/>
                  </a:lnTo>
                  <a:lnTo>
                    <a:pt x="4209" y="3974"/>
                  </a:lnTo>
                  <a:lnTo>
                    <a:pt x="4310" y="4344"/>
                  </a:lnTo>
                  <a:lnTo>
                    <a:pt x="4377" y="4681"/>
                  </a:lnTo>
                  <a:lnTo>
                    <a:pt x="4377" y="5051"/>
                  </a:lnTo>
                  <a:lnTo>
                    <a:pt x="4310" y="5421"/>
                  </a:lnTo>
                  <a:lnTo>
                    <a:pt x="4074" y="5960"/>
                  </a:lnTo>
                  <a:lnTo>
                    <a:pt x="3838" y="6532"/>
                  </a:lnTo>
                  <a:lnTo>
                    <a:pt x="3232" y="7576"/>
                  </a:lnTo>
                  <a:lnTo>
                    <a:pt x="2626" y="8687"/>
                  </a:lnTo>
                  <a:lnTo>
                    <a:pt x="1986" y="9798"/>
                  </a:lnTo>
                  <a:lnTo>
                    <a:pt x="640" y="11953"/>
                  </a:lnTo>
                  <a:lnTo>
                    <a:pt x="404" y="12323"/>
                  </a:lnTo>
                  <a:lnTo>
                    <a:pt x="202" y="12727"/>
                  </a:lnTo>
                  <a:lnTo>
                    <a:pt x="101" y="12929"/>
                  </a:lnTo>
                  <a:lnTo>
                    <a:pt x="34" y="13131"/>
                  </a:lnTo>
                  <a:lnTo>
                    <a:pt x="0" y="13367"/>
                  </a:lnTo>
                  <a:lnTo>
                    <a:pt x="0" y="13569"/>
                  </a:lnTo>
                  <a:lnTo>
                    <a:pt x="34" y="13636"/>
                  </a:lnTo>
                  <a:lnTo>
                    <a:pt x="67" y="13670"/>
                  </a:lnTo>
                  <a:lnTo>
                    <a:pt x="135" y="13636"/>
                  </a:lnTo>
                  <a:lnTo>
                    <a:pt x="168" y="13569"/>
                  </a:lnTo>
                  <a:lnTo>
                    <a:pt x="168" y="13333"/>
                  </a:lnTo>
                  <a:lnTo>
                    <a:pt x="202" y="13098"/>
                  </a:lnTo>
                  <a:lnTo>
                    <a:pt x="303" y="12862"/>
                  </a:lnTo>
                  <a:lnTo>
                    <a:pt x="404" y="12660"/>
                  </a:lnTo>
                  <a:lnTo>
                    <a:pt x="640" y="12222"/>
                  </a:lnTo>
                  <a:lnTo>
                    <a:pt x="909" y="11818"/>
                  </a:lnTo>
                  <a:lnTo>
                    <a:pt x="1986" y="10068"/>
                  </a:lnTo>
                  <a:lnTo>
                    <a:pt x="2996" y="8317"/>
                  </a:lnTo>
                  <a:lnTo>
                    <a:pt x="3501" y="7442"/>
                  </a:lnTo>
                  <a:lnTo>
                    <a:pt x="3939" y="6532"/>
                  </a:lnTo>
                  <a:lnTo>
                    <a:pt x="4310" y="5792"/>
                  </a:lnTo>
                  <a:lnTo>
                    <a:pt x="4444" y="5421"/>
                  </a:lnTo>
                  <a:lnTo>
                    <a:pt x="4545" y="5051"/>
                  </a:lnTo>
                  <a:lnTo>
                    <a:pt x="4545" y="4883"/>
                  </a:lnTo>
                  <a:lnTo>
                    <a:pt x="4545" y="4714"/>
                  </a:lnTo>
                  <a:lnTo>
                    <a:pt x="4512" y="4378"/>
                  </a:lnTo>
                  <a:lnTo>
                    <a:pt x="4377" y="4041"/>
                  </a:lnTo>
                  <a:lnTo>
                    <a:pt x="4276" y="3738"/>
                  </a:lnTo>
                  <a:lnTo>
                    <a:pt x="4175" y="3469"/>
                  </a:lnTo>
                  <a:lnTo>
                    <a:pt x="4141" y="3199"/>
                  </a:lnTo>
                  <a:lnTo>
                    <a:pt x="4141" y="2896"/>
                  </a:lnTo>
                  <a:lnTo>
                    <a:pt x="4175" y="2593"/>
                  </a:lnTo>
                  <a:lnTo>
                    <a:pt x="4242" y="2257"/>
                  </a:lnTo>
                  <a:lnTo>
                    <a:pt x="4343" y="1954"/>
                  </a:lnTo>
                  <a:lnTo>
                    <a:pt x="4444" y="1651"/>
                  </a:lnTo>
                  <a:lnTo>
                    <a:pt x="4613" y="1348"/>
                  </a:lnTo>
                  <a:lnTo>
                    <a:pt x="4781" y="1078"/>
                  </a:lnTo>
                  <a:lnTo>
                    <a:pt x="4983" y="809"/>
                  </a:lnTo>
                  <a:lnTo>
                    <a:pt x="5185" y="607"/>
                  </a:lnTo>
                  <a:lnTo>
                    <a:pt x="5421" y="405"/>
                  </a:lnTo>
                  <a:lnTo>
                    <a:pt x="5690" y="270"/>
                  </a:lnTo>
                  <a:lnTo>
                    <a:pt x="5959" y="169"/>
                  </a:lnTo>
                  <a:lnTo>
                    <a:pt x="6262" y="136"/>
                  </a:lnTo>
                  <a:lnTo>
                    <a:pt x="6565" y="169"/>
                  </a:lnTo>
                  <a:lnTo>
                    <a:pt x="6565" y="203"/>
                  </a:lnTo>
                  <a:lnTo>
                    <a:pt x="6599" y="237"/>
                  </a:lnTo>
                  <a:lnTo>
                    <a:pt x="6767" y="439"/>
                  </a:lnTo>
                  <a:lnTo>
                    <a:pt x="6902" y="674"/>
                  </a:lnTo>
                  <a:lnTo>
                    <a:pt x="7003" y="910"/>
                  </a:lnTo>
                  <a:lnTo>
                    <a:pt x="7104" y="1179"/>
                  </a:lnTo>
                  <a:lnTo>
                    <a:pt x="7138" y="1482"/>
                  </a:lnTo>
                  <a:lnTo>
                    <a:pt x="7171" y="1752"/>
                  </a:lnTo>
                  <a:lnTo>
                    <a:pt x="7171" y="2290"/>
                  </a:lnTo>
                  <a:lnTo>
                    <a:pt x="7138" y="2593"/>
                  </a:lnTo>
                  <a:lnTo>
                    <a:pt x="7070" y="2863"/>
                  </a:lnTo>
                  <a:lnTo>
                    <a:pt x="6969" y="3132"/>
                  </a:lnTo>
                  <a:lnTo>
                    <a:pt x="6835" y="3401"/>
                  </a:lnTo>
                  <a:lnTo>
                    <a:pt x="6633" y="3603"/>
                  </a:lnTo>
                  <a:lnTo>
                    <a:pt x="6431" y="3839"/>
                  </a:lnTo>
                  <a:lnTo>
                    <a:pt x="6229" y="4041"/>
                  </a:lnTo>
                  <a:lnTo>
                    <a:pt x="5959" y="4209"/>
                  </a:lnTo>
                  <a:lnTo>
                    <a:pt x="5387" y="4613"/>
                  </a:lnTo>
                  <a:lnTo>
                    <a:pt x="5084" y="4849"/>
                  </a:lnTo>
                  <a:lnTo>
                    <a:pt x="4848" y="5085"/>
                  </a:lnTo>
                  <a:lnTo>
                    <a:pt x="4613" y="5455"/>
                  </a:lnTo>
                  <a:lnTo>
                    <a:pt x="4411" y="5825"/>
                  </a:lnTo>
                  <a:lnTo>
                    <a:pt x="4108" y="6633"/>
                  </a:lnTo>
                  <a:lnTo>
                    <a:pt x="3771" y="7711"/>
                  </a:lnTo>
                  <a:lnTo>
                    <a:pt x="3434" y="8788"/>
                  </a:lnTo>
                  <a:lnTo>
                    <a:pt x="3165" y="9866"/>
                  </a:lnTo>
                  <a:lnTo>
                    <a:pt x="2895" y="10977"/>
                  </a:lnTo>
                  <a:lnTo>
                    <a:pt x="2727" y="12020"/>
                  </a:lnTo>
                  <a:lnTo>
                    <a:pt x="2626" y="12525"/>
                  </a:lnTo>
                  <a:lnTo>
                    <a:pt x="2525" y="13064"/>
                  </a:lnTo>
                  <a:lnTo>
                    <a:pt x="2390" y="13434"/>
                  </a:lnTo>
                  <a:lnTo>
                    <a:pt x="2222" y="13771"/>
                  </a:lnTo>
                  <a:lnTo>
                    <a:pt x="1986" y="14074"/>
                  </a:lnTo>
                  <a:lnTo>
                    <a:pt x="1852" y="14209"/>
                  </a:lnTo>
                  <a:lnTo>
                    <a:pt x="1683" y="14310"/>
                  </a:lnTo>
                  <a:lnTo>
                    <a:pt x="1448" y="14444"/>
                  </a:lnTo>
                  <a:lnTo>
                    <a:pt x="1212" y="14478"/>
                  </a:lnTo>
                  <a:lnTo>
                    <a:pt x="976" y="14478"/>
                  </a:lnTo>
                  <a:lnTo>
                    <a:pt x="774" y="14411"/>
                  </a:lnTo>
                  <a:lnTo>
                    <a:pt x="572" y="14276"/>
                  </a:lnTo>
                  <a:lnTo>
                    <a:pt x="404" y="14108"/>
                  </a:lnTo>
                  <a:lnTo>
                    <a:pt x="303" y="13906"/>
                  </a:lnTo>
                  <a:lnTo>
                    <a:pt x="236" y="13670"/>
                  </a:lnTo>
                  <a:lnTo>
                    <a:pt x="202" y="13636"/>
                  </a:lnTo>
                  <a:lnTo>
                    <a:pt x="135" y="13636"/>
                  </a:lnTo>
                  <a:lnTo>
                    <a:pt x="135" y="13670"/>
                  </a:lnTo>
                  <a:lnTo>
                    <a:pt x="135" y="13906"/>
                  </a:lnTo>
                  <a:lnTo>
                    <a:pt x="168" y="14074"/>
                  </a:lnTo>
                  <a:lnTo>
                    <a:pt x="236" y="14242"/>
                  </a:lnTo>
                  <a:lnTo>
                    <a:pt x="337" y="14377"/>
                  </a:lnTo>
                  <a:lnTo>
                    <a:pt x="471" y="14478"/>
                  </a:lnTo>
                  <a:lnTo>
                    <a:pt x="606" y="14545"/>
                  </a:lnTo>
                  <a:lnTo>
                    <a:pt x="774" y="14579"/>
                  </a:lnTo>
                  <a:lnTo>
                    <a:pt x="943" y="14613"/>
                  </a:lnTo>
                  <a:lnTo>
                    <a:pt x="1111" y="14613"/>
                  </a:lnTo>
                  <a:lnTo>
                    <a:pt x="1313" y="14579"/>
                  </a:lnTo>
                  <a:lnTo>
                    <a:pt x="1481" y="14545"/>
                  </a:lnTo>
                  <a:lnTo>
                    <a:pt x="1650" y="14478"/>
                  </a:lnTo>
                  <a:lnTo>
                    <a:pt x="1818" y="14411"/>
                  </a:lnTo>
                  <a:lnTo>
                    <a:pt x="1953" y="14310"/>
                  </a:lnTo>
                  <a:lnTo>
                    <a:pt x="2087" y="14175"/>
                  </a:lnTo>
                  <a:lnTo>
                    <a:pt x="2222" y="14040"/>
                  </a:lnTo>
                  <a:lnTo>
                    <a:pt x="2390" y="13771"/>
                  </a:lnTo>
                  <a:lnTo>
                    <a:pt x="2525" y="13468"/>
                  </a:lnTo>
                  <a:lnTo>
                    <a:pt x="2626" y="13131"/>
                  </a:lnTo>
                  <a:lnTo>
                    <a:pt x="2727" y="12828"/>
                  </a:lnTo>
                  <a:lnTo>
                    <a:pt x="2828" y="12155"/>
                  </a:lnTo>
                  <a:lnTo>
                    <a:pt x="2963" y="11482"/>
                  </a:lnTo>
                  <a:lnTo>
                    <a:pt x="3131" y="10707"/>
                  </a:lnTo>
                  <a:lnTo>
                    <a:pt x="3299" y="9899"/>
                  </a:lnTo>
                  <a:lnTo>
                    <a:pt x="3737" y="8351"/>
                  </a:lnTo>
                  <a:lnTo>
                    <a:pt x="3973" y="7644"/>
                  </a:lnTo>
                  <a:lnTo>
                    <a:pt x="4209" y="6903"/>
                  </a:lnTo>
                  <a:lnTo>
                    <a:pt x="4478" y="6196"/>
                  </a:lnTo>
                  <a:lnTo>
                    <a:pt x="4781" y="5522"/>
                  </a:lnTo>
                  <a:lnTo>
                    <a:pt x="4983" y="5253"/>
                  </a:lnTo>
                  <a:lnTo>
                    <a:pt x="5219" y="4984"/>
                  </a:lnTo>
                  <a:lnTo>
                    <a:pt x="5488" y="4782"/>
                  </a:lnTo>
                  <a:lnTo>
                    <a:pt x="5757" y="4580"/>
                  </a:lnTo>
                  <a:lnTo>
                    <a:pt x="6330" y="4176"/>
                  </a:lnTo>
                  <a:lnTo>
                    <a:pt x="6599" y="3974"/>
                  </a:lnTo>
                  <a:lnTo>
                    <a:pt x="6835" y="3738"/>
                  </a:lnTo>
                  <a:lnTo>
                    <a:pt x="6969" y="3536"/>
                  </a:lnTo>
                  <a:lnTo>
                    <a:pt x="7104" y="3334"/>
                  </a:lnTo>
                  <a:lnTo>
                    <a:pt x="7205" y="3132"/>
                  </a:lnTo>
                  <a:lnTo>
                    <a:pt x="7272" y="2896"/>
                  </a:lnTo>
                  <a:lnTo>
                    <a:pt x="7340" y="2661"/>
                  </a:lnTo>
                  <a:lnTo>
                    <a:pt x="7373" y="2425"/>
                  </a:lnTo>
                  <a:lnTo>
                    <a:pt x="7407" y="1886"/>
                  </a:lnTo>
                  <a:lnTo>
                    <a:pt x="7340" y="1381"/>
                  </a:lnTo>
                  <a:lnTo>
                    <a:pt x="7306" y="1146"/>
                  </a:lnTo>
                  <a:lnTo>
                    <a:pt x="7239" y="910"/>
                  </a:lnTo>
                  <a:lnTo>
                    <a:pt x="7138" y="674"/>
                  </a:lnTo>
                  <a:lnTo>
                    <a:pt x="7003" y="472"/>
                  </a:lnTo>
                  <a:lnTo>
                    <a:pt x="6868" y="270"/>
                  </a:lnTo>
                  <a:lnTo>
                    <a:pt x="6734" y="136"/>
                  </a:lnTo>
                  <a:lnTo>
                    <a:pt x="6666" y="102"/>
                  </a:lnTo>
                  <a:lnTo>
                    <a:pt x="6633" y="102"/>
                  </a:lnTo>
                  <a:lnTo>
                    <a:pt x="6599" y="68"/>
                  </a:lnTo>
                  <a:lnTo>
                    <a:pt x="639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693" name="Google Shape;693;p5"/>
          <p:cNvGrpSpPr/>
          <p:nvPr/>
        </p:nvGrpSpPr>
        <p:grpSpPr>
          <a:xfrm>
            <a:off x="67" y="1643867"/>
            <a:ext cx="606173" cy="1089319"/>
            <a:chOff x="50" y="1232900"/>
            <a:chExt cx="454630" cy="816989"/>
          </a:xfrm>
        </p:grpSpPr>
        <p:sp>
          <p:nvSpPr>
            <p:cNvPr id="694" name="Google Shape;694;p5"/>
            <p:cNvSpPr/>
            <p:nvPr/>
          </p:nvSpPr>
          <p:spPr>
            <a:xfrm>
              <a:off x="50" y="1283221"/>
              <a:ext cx="390907" cy="600560"/>
            </a:xfrm>
            <a:custGeom>
              <a:avLst/>
              <a:gdLst/>
              <a:ahLst/>
              <a:cxnLst/>
              <a:rect l="l" t="t" r="r" b="b"/>
              <a:pathLst>
                <a:path w="7846" h="12054" extrusionOk="0">
                  <a:moveTo>
                    <a:pt x="1" y="1"/>
                  </a:moveTo>
                  <a:lnTo>
                    <a:pt x="1" y="203"/>
                  </a:lnTo>
                  <a:lnTo>
                    <a:pt x="405" y="304"/>
                  </a:lnTo>
                  <a:lnTo>
                    <a:pt x="842" y="371"/>
                  </a:lnTo>
                  <a:lnTo>
                    <a:pt x="1953" y="438"/>
                  </a:lnTo>
                  <a:lnTo>
                    <a:pt x="3065" y="539"/>
                  </a:lnTo>
                  <a:lnTo>
                    <a:pt x="4209" y="640"/>
                  </a:lnTo>
                  <a:lnTo>
                    <a:pt x="5354" y="809"/>
                  </a:lnTo>
                  <a:lnTo>
                    <a:pt x="6499" y="977"/>
                  </a:lnTo>
                  <a:lnTo>
                    <a:pt x="7643" y="1179"/>
                  </a:lnTo>
                  <a:lnTo>
                    <a:pt x="7542" y="1684"/>
                  </a:lnTo>
                  <a:lnTo>
                    <a:pt x="7441" y="2223"/>
                  </a:lnTo>
                  <a:lnTo>
                    <a:pt x="7340" y="3334"/>
                  </a:lnTo>
                  <a:lnTo>
                    <a:pt x="6903" y="6431"/>
                  </a:lnTo>
                  <a:lnTo>
                    <a:pt x="6532" y="9091"/>
                  </a:lnTo>
                  <a:lnTo>
                    <a:pt x="6128" y="11751"/>
                  </a:lnTo>
                  <a:lnTo>
                    <a:pt x="6095" y="11751"/>
                  </a:lnTo>
                  <a:lnTo>
                    <a:pt x="5691" y="11650"/>
                  </a:lnTo>
                  <a:lnTo>
                    <a:pt x="5320" y="11583"/>
                  </a:lnTo>
                  <a:lnTo>
                    <a:pt x="4546" y="11482"/>
                  </a:lnTo>
                  <a:lnTo>
                    <a:pt x="2964" y="11381"/>
                  </a:lnTo>
                  <a:lnTo>
                    <a:pt x="2593" y="11313"/>
                  </a:lnTo>
                  <a:lnTo>
                    <a:pt x="2223" y="11280"/>
                  </a:lnTo>
                  <a:lnTo>
                    <a:pt x="1482" y="11111"/>
                  </a:lnTo>
                  <a:lnTo>
                    <a:pt x="741" y="10943"/>
                  </a:lnTo>
                  <a:lnTo>
                    <a:pt x="371" y="10876"/>
                  </a:lnTo>
                  <a:lnTo>
                    <a:pt x="1" y="10842"/>
                  </a:lnTo>
                  <a:lnTo>
                    <a:pt x="1" y="11111"/>
                  </a:lnTo>
                  <a:lnTo>
                    <a:pt x="607" y="11212"/>
                  </a:lnTo>
                  <a:lnTo>
                    <a:pt x="1246" y="11347"/>
                  </a:lnTo>
                  <a:lnTo>
                    <a:pt x="1852" y="11482"/>
                  </a:lnTo>
                  <a:lnTo>
                    <a:pt x="2458" y="11583"/>
                  </a:lnTo>
                  <a:lnTo>
                    <a:pt x="3368" y="11650"/>
                  </a:lnTo>
                  <a:lnTo>
                    <a:pt x="4243" y="11717"/>
                  </a:lnTo>
                  <a:lnTo>
                    <a:pt x="5152" y="11818"/>
                  </a:lnTo>
                  <a:lnTo>
                    <a:pt x="5590" y="11886"/>
                  </a:lnTo>
                  <a:lnTo>
                    <a:pt x="6027" y="12020"/>
                  </a:lnTo>
                  <a:lnTo>
                    <a:pt x="6095" y="11987"/>
                  </a:lnTo>
                  <a:lnTo>
                    <a:pt x="6162" y="12054"/>
                  </a:lnTo>
                  <a:lnTo>
                    <a:pt x="6229" y="12054"/>
                  </a:lnTo>
                  <a:lnTo>
                    <a:pt x="6263" y="12020"/>
                  </a:lnTo>
                  <a:lnTo>
                    <a:pt x="6297" y="11987"/>
                  </a:lnTo>
                  <a:lnTo>
                    <a:pt x="6734" y="9226"/>
                  </a:lnTo>
                  <a:lnTo>
                    <a:pt x="7138" y="6499"/>
                  </a:lnTo>
                  <a:lnTo>
                    <a:pt x="7475" y="3839"/>
                  </a:lnTo>
                  <a:lnTo>
                    <a:pt x="7677" y="2492"/>
                  </a:lnTo>
                  <a:lnTo>
                    <a:pt x="7778" y="1819"/>
                  </a:lnTo>
                  <a:lnTo>
                    <a:pt x="7778" y="1146"/>
                  </a:lnTo>
                  <a:lnTo>
                    <a:pt x="7812" y="1112"/>
                  </a:lnTo>
                  <a:lnTo>
                    <a:pt x="7845" y="1078"/>
                  </a:lnTo>
                  <a:lnTo>
                    <a:pt x="7812" y="1011"/>
                  </a:lnTo>
                  <a:lnTo>
                    <a:pt x="7778" y="977"/>
                  </a:lnTo>
                  <a:lnTo>
                    <a:pt x="7778" y="944"/>
                  </a:lnTo>
                  <a:lnTo>
                    <a:pt x="7744" y="910"/>
                  </a:lnTo>
                  <a:lnTo>
                    <a:pt x="7711" y="910"/>
                  </a:lnTo>
                  <a:lnTo>
                    <a:pt x="7711" y="944"/>
                  </a:lnTo>
                  <a:lnTo>
                    <a:pt x="7677" y="977"/>
                  </a:lnTo>
                  <a:lnTo>
                    <a:pt x="6734" y="775"/>
                  </a:lnTo>
                  <a:lnTo>
                    <a:pt x="5792" y="640"/>
                  </a:lnTo>
                  <a:lnTo>
                    <a:pt x="3873" y="405"/>
                  </a:lnTo>
                  <a:lnTo>
                    <a:pt x="2896" y="304"/>
                  </a:lnTo>
                  <a:lnTo>
                    <a:pt x="1920" y="270"/>
                  </a:lnTo>
                  <a:lnTo>
                    <a:pt x="943" y="169"/>
                  </a:lnTo>
                  <a:lnTo>
                    <a:pt x="472" y="10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5" name="Google Shape;695;p5"/>
            <p:cNvSpPr/>
            <p:nvPr/>
          </p:nvSpPr>
          <p:spPr>
            <a:xfrm>
              <a:off x="50" y="1232900"/>
              <a:ext cx="439534" cy="68855"/>
            </a:xfrm>
            <a:custGeom>
              <a:avLst/>
              <a:gdLst/>
              <a:ahLst/>
              <a:cxnLst/>
              <a:rect l="l" t="t" r="r" b="b"/>
              <a:pathLst>
                <a:path w="8822" h="1382" extrusionOk="0">
                  <a:moveTo>
                    <a:pt x="1" y="1"/>
                  </a:moveTo>
                  <a:lnTo>
                    <a:pt x="1" y="270"/>
                  </a:lnTo>
                  <a:lnTo>
                    <a:pt x="1078" y="472"/>
                  </a:lnTo>
                  <a:lnTo>
                    <a:pt x="2155" y="607"/>
                  </a:lnTo>
                  <a:lnTo>
                    <a:pt x="3233" y="708"/>
                  </a:lnTo>
                  <a:lnTo>
                    <a:pt x="4344" y="775"/>
                  </a:lnTo>
                  <a:lnTo>
                    <a:pt x="5421" y="876"/>
                  </a:lnTo>
                  <a:lnTo>
                    <a:pt x="6499" y="977"/>
                  </a:lnTo>
                  <a:lnTo>
                    <a:pt x="7576" y="1145"/>
                  </a:lnTo>
                  <a:lnTo>
                    <a:pt x="8115" y="1246"/>
                  </a:lnTo>
                  <a:lnTo>
                    <a:pt x="8653" y="1381"/>
                  </a:lnTo>
                  <a:lnTo>
                    <a:pt x="8754" y="1381"/>
                  </a:lnTo>
                  <a:lnTo>
                    <a:pt x="8822" y="1280"/>
                  </a:lnTo>
                  <a:lnTo>
                    <a:pt x="8788" y="1179"/>
                  </a:lnTo>
                  <a:lnTo>
                    <a:pt x="8754" y="1145"/>
                  </a:lnTo>
                  <a:lnTo>
                    <a:pt x="8721" y="1112"/>
                  </a:lnTo>
                  <a:lnTo>
                    <a:pt x="8182" y="1011"/>
                  </a:lnTo>
                  <a:lnTo>
                    <a:pt x="7643" y="876"/>
                  </a:lnTo>
                  <a:lnTo>
                    <a:pt x="6566" y="741"/>
                  </a:lnTo>
                  <a:lnTo>
                    <a:pt x="5455" y="607"/>
                  </a:lnTo>
                  <a:lnTo>
                    <a:pt x="4378" y="539"/>
                  </a:lnTo>
                  <a:lnTo>
                    <a:pt x="3267" y="438"/>
                  </a:lnTo>
                  <a:lnTo>
                    <a:pt x="2155" y="337"/>
                  </a:lnTo>
                  <a:lnTo>
                    <a:pt x="1078" y="203"/>
                  </a:lnTo>
                  <a:lnTo>
                    <a:pt x="539" y="10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6" name="Google Shape;696;p5"/>
            <p:cNvSpPr/>
            <p:nvPr/>
          </p:nvSpPr>
          <p:spPr>
            <a:xfrm>
              <a:off x="50" y="1284915"/>
              <a:ext cx="454630" cy="764975"/>
            </a:xfrm>
            <a:custGeom>
              <a:avLst/>
              <a:gdLst/>
              <a:ahLst/>
              <a:cxnLst/>
              <a:rect l="l" t="t" r="r" b="b"/>
              <a:pathLst>
                <a:path w="9125" h="15354" extrusionOk="0">
                  <a:moveTo>
                    <a:pt x="8956" y="0"/>
                  </a:moveTo>
                  <a:lnTo>
                    <a:pt x="8889" y="34"/>
                  </a:lnTo>
                  <a:lnTo>
                    <a:pt x="8855" y="68"/>
                  </a:lnTo>
                  <a:lnTo>
                    <a:pt x="8855" y="101"/>
                  </a:lnTo>
                  <a:lnTo>
                    <a:pt x="8855" y="1078"/>
                  </a:lnTo>
                  <a:lnTo>
                    <a:pt x="8788" y="2054"/>
                  </a:lnTo>
                  <a:lnTo>
                    <a:pt x="8687" y="2997"/>
                  </a:lnTo>
                  <a:lnTo>
                    <a:pt x="8552" y="3940"/>
                  </a:lnTo>
                  <a:lnTo>
                    <a:pt x="8216" y="5859"/>
                  </a:lnTo>
                  <a:lnTo>
                    <a:pt x="8047" y="6801"/>
                  </a:lnTo>
                  <a:lnTo>
                    <a:pt x="7879" y="7778"/>
                  </a:lnTo>
                  <a:lnTo>
                    <a:pt x="7778" y="8653"/>
                  </a:lnTo>
                  <a:lnTo>
                    <a:pt x="7677" y="9562"/>
                  </a:lnTo>
                  <a:lnTo>
                    <a:pt x="7542" y="11380"/>
                  </a:lnTo>
                  <a:lnTo>
                    <a:pt x="7441" y="12289"/>
                  </a:lnTo>
                  <a:lnTo>
                    <a:pt x="7340" y="13165"/>
                  </a:lnTo>
                  <a:lnTo>
                    <a:pt x="7172" y="14074"/>
                  </a:lnTo>
                  <a:lnTo>
                    <a:pt x="6936" y="14949"/>
                  </a:lnTo>
                  <a:lnTo>
                    <a:pt x="5186" y="14814"/>
                  </a:lnTo>
                  <a:lnTo>
                    <a:pt x="3469" y="14646"/>
                  </a:lnTo>
                  <a:lnTo>
                    <a:pt x="1718" y="14444"/>
                  </a:lnTo>
                  <a:lnTo>
                    <a:pt x="1" y="14242"/>
                  </a:lnTo>
                  <a:lnTo>
                    <a:pt x="1" y="14511"/>
                  </a:lnTo>
                  <a:lnTo>
                    <a:pt x="1718" y="14713"/>
                  </a:lnTo>
                  <a:lnTo>
                    <a:pt x="3435" y="14915"/>
                  </a:lnTo>
                  <a:lnTo>
                    <a:pt x="5152" y="15084"/>
                  </a:lnTo>
                  <a:lnTo>
                    <a:pt x="6869" y="15218"/>
                  </a:lnTo>
                  <a:lnTo>
                    <a:pt x="6869" y="15252"/>
                  </a:lnTo>
                  <a:lnTo>
                    <a:pt x="6903" y="15319"/>
                  </a:lnTo>
                  <a:lnTo>
                    <a:pt x="6970" y="15353"/>
                  </a:lnTo>
                  <a:lnTo>
                    <a:pt x="7071" y="15353"/>
                  </a:lnTo>
                  <a:lnTo>
                    <a:pt x="7105" y="15319"/>
                  </a:lnTo>
                  <a:lnTo>
                    <a:pt x="7138" y="15252"/>
                  </a:lnTo>
                  <a:lnTo>
                    <a:pt x="7374" y="14309"/>
                  </a:lnTo>
                  <a:lnTo>
                    <a:pt x="7576" y="13367"/>
                  </a:lnTo>
                  <a:lnTo>
                    <a:pt x="7711" y="12424"/>
                  </a:lnTo>
                  <a:lnTo>
                    <a:pt x="7812" y="11448"/>
                  </a:lnTo>
                  <a:lnTo>
                    <a:pt x="7980" y="9529"/>
                  </a:lnTo>
                  <a:lnTo>
                    <a:pt x="8047" y="8552"/>
                  </a:lnTo>
                  <a:lnTo>
                    <a:pt x="8182" y="7576"/>
                  </a:lnTo>
                  <a:lnTo>
                    <a:pt x="8317" y="6667"/>
                  </a:lnTo>
                  <a:lnTo>
                    <a:pt x="8485" y="5724"/>
                  </a:lnTo>
                  <a:lnTo>
                    <a:pt x="8822" y="3872"/>
                  </a:lnTo>
                  <a:lnTo>
                    <a:pt x="8956" y="2930"/>
                  </a:lnTo>
                  <a:lnTo>
                    <a:pt x="9057" y="2021"/>
                  </a:lnTo>
                  <a:lnTo>
                    <a:pt x="9125" y="1078"/>
                  </a:lnTo>
                  <a:lnTo>
                    <a:pt x="9091" y="101"/>
                  </a:lnTo>
                  <a:lnTo>
                    <a:pt x="9091" y="68"/>
                  </a:lnTo>
                  <a:lnTo>
                    <a:pt x="9057" y="34"/>
                  </a:lnTo>
                  <a:lnTo>
                    <a:pt x="89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697" name="Google Shape;697;p5"/>
          <p:cNvGrpSpPr/>
          <p:nvPr/>
        </p:nvGrpSpPr>
        <p:grpSpPr>
          <a:xfrm>
            <a:off x="67" y="4097393"/>
            <a:ext cx="973000" cy="1395695"/>
            <a:chOff x="50" y="3073044"/>
            <a:chExt cx="729750" cy="1046771"/>
          </a:xfrm>
        </p:grpSpPr>
        <p:sp>
          <p:nvSpPr>
            <p:cNvPr id="698" name="Google Shape;698;p5"/>
            <p:cNvSpPr/>
            <p:nvPr/>
          </p:nvSpPr>
          <p:spPr>
            <a:xfrm>
              <a:off x="50" y="3073044"/>
              <a:ext cx="729750" cy="1046771"/>
            </a:xfrm>
            <a:custGeom>
              <a:avLst/>
              <a:gdLst/>
              <a:ahLst/>
              <a:cxnLst/>
              <a:rect l="l" t="t" r="r" b="b"/>
              <a:pathLst>
                <a:path w="14647" h="21010" extrusionOk="0">
                  <a:moveTo>
                    <a:pt x="3738" y="1"/>
                  </a:moveTo>
                  <a:lnTo>
                    <a:pt x="3199" y="34"/>
                  </a:lnTo>
                  <a:lnTo>
                    <a:pt x="2661" y="102"/>
                  </a:lnTo>
                  <a:lnTo>
                    <a:pt x="2122" y="203"/>
                  </a:lnTo>
                  <a:lnTo>
                    <a:pt x="1583" y="337"/>
                  </a:lnTo>
                  <a:lnTo>
                    <a:pt x="1044" y="472"/>
                  </a:lnTo>
                  <a:lnTo>
                    <a:pt x="1" y="809"/>
                  </a:lnTo>
                  <a:lnTo>
                    <a:pt x="1" y="1078"/>
                  </a:lnTo>
                  <a:lnTo>
                    <a:pt x="607" y="876"/>
                  </a:lnTo>
                  <a:lnTo>
                    <a:pt x="1213" y="674"/>
                  </a:lnTo>
                  <a:lnTo>
                    <a:pt x="1819" y="539"/>
                  </a:lnTo>
                  <a:lnTo>
                    <a:pt x="2425" y="405"/>
                  </a:lnTo>
                  <a:lnTo>
                    <a:pt x="2829" y="337"/>
                  </a:lnTo>
                  <a:lnTo>
                    <a:pt x="3233" y="304"/>
                  </a:lnTo>
                  <a:lnTo>
                    <a:pt x="3671" y="270"/>
                  </a:lnTo>
                  <a:lnTo>
                    <a:pt x="4075" y="236"/>
                  </a:lnTo>
                  <a:lnTo>
                    <a:pt x="4883" y="304"/>
                  </a:lnTo>
                  <a:lnTo>
                    <a:pt x="5691" y="405"/>
                  </a:lnTo>
                  <a:lnTo>
                    <a:pt x="6499" y="573"/>
                  </a:lnTo>
                  <a:lnTo>
                    <a:pt x="7273" y="809"/>
                  </a:lnTo>
                  <a:lnTo>
                    <a:pt x="8047" y="1112"/>
                  </a:lnTo>
                  <a:lnTo>
                    <a:pt x="8822" y="1448"/>
                  </a:lnTo>
                  <a:lnTo>
                    <a:pt x="9125" y="1583"/>
                  </a:lnTo>
                  <a:lnTo>
                    <a:pt x="9394" y="1751"/>
                  </a:lnTo>
                  <a:lnTo>
                    <a:pt x="9933" y="2122"/>
                  </a:lnTo>
                  <a:lnTo>
                    <a:pt x="10438" y="2559"/>
                  </a:lnTo>
                  <a:lnTo>
                    <a:pt x="10909" y="2997"/>
                  </a:lnTo>
                  <a:lnTo>
                    <a:pt x="11482" y="3502"/>
                  </a:lnTo>
                  <a:lnTo>
                    <a:pt x="11987" y="4041"/>
                  </a:lnTo>
                  <a:lnTo>
                    <a:pt x="12525" y="4613"/>
                  </a:lnTo>
                  <a:lnTo>
                    <a:pt x="12997" y="5185"/>
                  </a:lnTo>
                  <a:lnTo>
                    <a:pt x="13401" y="5792"/>
                  </a:lnTo>
                  <a:lnTo>
                    <a:pt x="13704" y="6431"/>
                  </a:lnTo>
                  <a:lnTo>
                    <a:pt x="13872" y="6734"/>
                  </a:lnTo>
                  <a:lnTo>
                    <a:pt x="13973" y="7071"/>
                  </a:lnTo>
                  <a:lnTo>
                    <a:pt x="14074" y="7408"/>
                  </a:lnTo>
                  <a:lnTo>
                    <a:pt x="14175" y="7778"/>
                  </a:lnTo>
                  <a:lnTo>
                    <a:pt x="14242" y="8182"/>
                  </a:lnTo>
                  <a:lnTo>
                    <a:pt x="14276" y="8620"/>
                  </a:lnTo>
                  <a:lnTo>
                    <a:pt x="14343" y="9461"/>
                  </a:lnTo>
                  <a:lnTo>
                    <a:pt x="14377" y="11212"/>
                  </a:lnTo>
                  <a:lnTo>
                    <a:pt x="14411" y="11953"/>
                  </a:lnTo>
                  <a:lnTo>
                    <a:pt x="14343" y="12727"/>
                  </a:lnTo>
                  <a:lnTo>
                    <a:pt x="14242" y="13468"/>
                  </a:lnTo>
                  <a:lnTo>
                    <a:pt x="14040" y="14209"/>
                  </a:lnTo>
                  <a:lnTo>
                    <a:pt x="13805" y="14916"/>
                  </a:lnTo>
                  <a:lnTo>
                    <a:pt x="13502" y="15589"/>
                  </a:lnTo>
                  <a:lnTo>
                    <a:pt x="13131" y="16229"/>
                  </a:lnTo>
                  <a:lnTo>
                    <a:pt x="12660" y="16868"/>
                  </a:lnTo>
                  <a:lnTo>
                    <a:pt x="12424" y="17138"/>
                  </a:lnTo>
                  <a:lnTo>
                    <a:pt x="12189" y="17373"/>
                  </a:lnTo>
                  <a:lnTo>
                    <a:pt x="11650" y="17878"/>
                  </a:lnTo>
                  <a:lnTo>
                    <a:pt x="11078" y="18316"/>
                  </a:lnTo>
                  <a:lnTo>
                    <a:pt x="10505" y="18754"/>
                  </a:lnTo>
                  <a:lnTo>
                    <a:pt x="10202" y="18989"/>
                  </a:lnTo>
                  <a:lnTo>
                    <a:pt x="9865" y="19191"/>
                  </a:lnTo>
                  <a:lnTo>
                    <a:pt x="9529" y="19360"/>
                  </a:lnTo>
                  <a:lnTo>
                    <a:pt x="9192" y="19528"/>
                  </a:lnTo>
                  <a:lnTo>
                    <a:pt x="8519" y="19797"/>
                  </a:lnTo>
                  <a:lnTo>
                    <a:pt x="7778" y="19999"/>
                  </a:lnTo>
                  <a:lnTo>
                    <a:pt x="6431" y="20370"/>
                  </a:lnTo>
                  <a:lnTo>
                    <a:pt x="5792" y="20538"/>
                  </a:lnTo>
                  <a:lnTo>
                    <a:pt x="5118" y="20673"/>
                  </a:lnTo>
                  <a:lnTo>
                    <a:pt x="4681" y="20740"/>
                  </a:lnTo>
                  <a:lnTo>
                    <a:pt x="4243" y="20774"/>
                  </a:lnTo>
                  <a:lnTo>
                    <a:pt x="3401" y="20774"/>
                  </a:lnTo>
                  <a:lnTo>
                    <a:pt x="2560" y="20706"/>
                  </a:lnTo>
                  <a:lnTo>
                    <a:pt x="1684" y="20605"/>
                  </a:lnTo>
                  <a:lnTo>
                    <a:pt x="842" y="20471"/>
                  </a:lnTo>
                  <a:lnTo>
                    <a:pt x="1" y="20302"/>
                  </a:lnTo>
                  <a:lnTo>
                    <a:pt x="1" y="20572"/>
                  </a:lnTo>
                  <a:lnTo>
                    <a:pt x="169" y="20605"/>
                  </a:lnTo>
                  <a:lnTo>
                    <a:pt x="842" y="20740"/>
                  </a:lnTo>
                  <a:lnTo>
                    <a:pt x="1549" y="20841"/>
                  </a:lnTo>
                  <a:lnTo>
                    <a:pt x="2223" y="20942"/>
                  </a:lnTo>
                  <a:lnTo>
                    <a:pt x="2896" y="21009"/>
                  </a:lnTo>
                  <a:lnTo>
                    <a:pt x="4277" y="21009"/>
                  </a:lnTo>
                  <a:lnTo>
                    <a:pt x="4950" y="20942"/>
                  </a:lnTo>
                  <a:lnTo>
                    <a:pt x="5657" y="20841"/>
                  </a:lnTo>
                  <a:lnTo>
                    <a:pt x="6297" y="20706"/>
                  </a:lnTo>
                  <a:lnTo>
                    <a:pt x="6970" y="20504"/>
                  </a:lnTo>
                  <a:lnTo>
                    <a:pt x="8249" y="20168"/>
                  </a:lnTo>
                  <a:lnTo>
                    <a:pt x="8586" y="20067"/>
                  </a:lnTo>
                  <a:lnTo>
                    <a:pt x="8923" y="19966"/>
                  </a:lnTo>
                  <a:lnTo>
                    <a:pt x="9495" y="19696"/>
                  </a:lnTo>
                  <a:lnTo>
                    <a:pt x="10067" y="19360"/>
                  </a:lnTo>
                  <a:lnTo>
                    <a:pt x="10640" y="18989"/>
                  </a:lnTo>
                  <a:lnTo>
                    <a:pt x="11145" y="18585"/>
                  </a:lnTo>
                  <a:lnTo>
                    <a:pt x="11650" y="18181"/>
                  </a:lnTo>
                  <a:lnTo>
                    <a:pt x="12121" y="17777"/>
                  </a:lnTo>
                  <a:lnTo>
                    <a:pt x="12559" y="17340"/>
                  </a:lnTo>
                  <a:lnTo>
                    <a:pt x="12963" y="16868"/>
                  </a:lnTo>
                  <a:lnTo>
                    <a:pt x="13333" y="16363"/>
                  </a:lnTo>
                  <a:lnTo>
                    <a:pt x="13670" y="15825"/>
                  </a:lnTo>
                  <a:lnTo>
                    <a:pt x="13973" y="15219"/>
                  </a:lnTo>
                  <a:lnTo>
                    <a:pt x="14209" y="14579"/>
                  </a:lnTo>
                  <a:lnTo>
                    <a:pt x="14411" y="13939"/>
                  </a:lnTo>
                  <a:lnTo>
                    <a:pt x="14512" y="13266"/>
                  </a:lnTo>
                  <a:lnTo>
                    <a:pt x="14613" y="12592"/>
                  </a:lnTo>
                  <a:lnTo>
                    <a:pt x="14646" y="11919"/>
                  </a:lnTo>
                  <a:lnTo>
                    <a:pt x="14646" y="11246"/>
                  </a:lnTo>
                  <a:lnTo>
                    <a:pt x="14613" y="10572"/>
                  </a:lnTo>
                  <a:lnTo>
                    <a:pt x="14545" y="9865"/>
                  </a:lnTo>
                  <a:lnTo>
                    <a:pt x="14478" y="8552"/>
                  </a:lnTo>
                  <a:lnTo>
                    <a:pt x="14444" y="7879"/>
                  </a:lnTo>
                  <a:lnTo>
                    <a:pt x="14377" y="7576"/>
                  </a:lnTo>
                  <a:lnTo>
                    <a:pt x="14310" y="7239"/>
                  </a:lnTo>
                  <a:lnTo>
                    <a:pt x="14209" y="6903"/>
                  </a:lnTo>
                  <a:lnTo>
                    <a:pt x="14074" y="6600"/>
                  </a:lnTo>
                  <a:lnTo>
                    <a:pt x="13805" y="5994"/>
                  </a:lnTo>
                  <a:lnTo>
                    <a:pt x="13468" y="5421"/>
                  </a:lnTo>
                  <a:lnTo>
                    <a:pt x="13064" y="4882"/>
                  </a:lnTo>
                  <a:lnTo>
                    <a:pt x="12660" y="4377"/>
                  </a:lnTo>
                  <a:lnTo>
                    <a:pt x="12222" y="3872"/>
                  </a:lnTo>
                  <a:lnTo>
                    <a:pt x="11785" y="3401"/>
                  </a:lnTo>
                  <a:lnTo>
                    <a:pt x="11313" y="2963"/>
                  </a:lnTo>
                  <a:lnTo>
                    <a:pt x="10808" y="2526"/>
                  </a:lnTo>
                  <a:lnTo>
                    <a:pt x="10303" y="2122"/>
                  </a:lnTo>
                  <a:lnTo>
                    <a:pt x="9764" y="1751"/>
                  </a:lnTo>
                  <a:lnTo>
                    <a:pt x="9226" y="1415"/>
                  </a:lnTo>
                  <a:lnTo>
                    <a:pt x="8653" y="1112"/>
                  </a:lnTo>
                  <a:lnTo>
                    <a:pt x="8081" y="842"/>
                  </a:lnTo>
                  <a:lnTo>
                    <a:pt x="7475" y="607"/>
                  </a:lnTo>
                  <a:lnTo>
                    <a:pt x="6869" y="405"/>
                  </a:lnTo>
                  <a:lnTo>
                    <a:pt x="6229" y="236"/>
                  </a:lnTo>
                  <a:lnTo>
                    <a:pt x="5590" y="102"/>
                  </a:lnTo>
                  <a:lnTo>
                    <a:pt x="4950" y="34"/>
                  </a:lnTo>
                  <a:lnTo>
                    <a:pt x="431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99" name="Google Shape;699;p5"/>
            <p:cNvSpPr/>
            <p:nvPr/>
          </p:nvSpPr>
          <p:spPr>
            <a:xfrm>
              <a:off x="50" y="3264263"/>
              <a:ext cx="679429" cy="686106"/>
            </a:xfrm>
            <a:custGeom>
              <a:avLst/>
              <a:gdLst/>
              <a:ahLst/>
              <a:cxnLst/>
              <a:rect l="l" t="t" r="r" b="b"/>
              <a:pathLst>
                <a:path w="13637" h="13771" extrusionOk="0">
                  <a:moveTo>
                    <a:pt x="12626" y="6095"/>
                  </a:moveTo>
                  <a:lnTo>
                    <a:pt x="12896" y="6162"/>
                  </a:lnTo>
                  <a:lnTo>
                    <a:pt x="12997" y="6196"/>
                  </a:lnTo>
                  <a:lnTo>
                    <a:pt x="13098" y="6263"/>
                  </a:lnTo>
                  <a:lnTo>
                    <a:pt x="13199" y="6364"/>
                  </a:lnTo>
                  <a:lnTo>
                    <a:pt x="13300" y="6465"/>
                  </a:lnTo>
                  <a:lnTo>
                    <a:pt x="13367" y="6600"/>
                  </a:lnTo>
                  <a:lnTo>
                    <a:pt x="13401" y="6768"/>
                  </a:lnTo>
                  <a:lnTo>
                    <a:pt x="13434" y="6903"/>
                  </a:lnTo>
                  <a:lnTo>
                    <a:pt x="13434" y="7071"/>
                  </a:lnTo>
                  <a:lnTo>
                    <a:pt x="13367" y="7206"/>
                  </a:lnTo>
                  <a:lnTo>
                    <a:pt x="13333" y="7340"/>
                  </a:lnTo>
                  <a:lnTo>
                    <a:pt x="13232" y="7475"/>
                  </a:lnTo>
                  <a:lnTo>
                    <a:pt x="13131" y="7576"/>
                  </a:lnTo>
                  <a:lnTo>
                    <a:pt x="12862" y="7711"/>
                  </a:lnTo>
                  <a:lnTo>
                    <a:pt x="12559" y="7812"/>
                  </a:lnTo>
                  <a:lnTo>
                    <a:pt x="12222" y="7845"/>
                  </a:lnTo>
                  <a:lnTo>
                    <a:pt x="11852" y="7845"/>
                  </a:lnTo>
                  <a:lnTo>
                    <a:pt x="11145" y="7812"/>
                  </a:lnTo>
                  <a:lnTo>
                    <a:pt x="10505" y="7778"/>
                  </a:lnTo>
                  <a:lnTo>
                    <a:pt x="10505" y="7542"/>
                  </a:lnTo>
                  <a:lnTo>
                    <a:pt x="10505" y="7307"/>
                  </a:lnTo>
                  <a:lnTo>
                    <a:pt x="10539" y="6734"/>
                  </a:lnTo>
                  <a:lnTo>
                    <a:pt x="10539" y="6196"/>
                  </a:lnTo>
                  <a:lnTo>
                    <a:pt x="10977" y="6128"/>
                  </a:lnTo>
                  <a:lnTo>
                    <a:pt x="11448" y="6095"/>
                  </a:lnTo>
                  <a:close/>
                  <a:moveTo>
                    <a:pt x="3469" y="1"/>
                  </a:moveTo>
                  <a:lnTo>
                    <a:pt x="2795" y="68"/>
                  </a:lnTo>
                  <a:lnTo>
                    <a:pt x="2122" y="203"/>
                  </a:lnTo>
                  <a:lnTo>
                    <a:pt x="1482" y="405"/>
                  </a:lnTo>
                  <a:lnTo>
                    <a:pt x="842" y="640"/>
                  </a:lnTo>
                  <a:lnTo>
                    <a:pt x="270" y="943"/>
                  </a:lnTo>
                  <a:lnTo>
                    <a:pt x="1" y="1112"/>
                  </a:lnTo>
                  <a:lnTo>
                    <a:pt x="1" y="1415"/>
                  </a:lnTo>
                  <a:lnTo>
                    <a:pt x="573" y="1044"/>
                  </a:lnTo>
                  <a:lnTo>
                    <a:pt x="1145" y="741"/>
                  </a:lnTo>
                  <a:lnTo>
                    <a:pt x="1751" y="539"/>
                  </a:lnTo>
                  <a:lnTo>
                    <a:pt x="2357" y="371"/>
                  </a:lnTo>
                  <a:lnTo>
                    <a:pt x="2997" y="270"/>
                  </a:lnTo>
                  <a:lnTo>
                    <a:pt x="3671" y="236"/>
                  </a:lnTo>
                  <a:lnTo>
                    <a:pt x="4310" y="236"/>
                  </a:lnTo>
                  <a:lnTo>
                    <a:pt x="4950" y="304"/>
                  </a:lnTo>
                  <a:lnTo>
                    <a:pt x="5590" y="438"/>
                  </a:lnTo>
                  <a:lnTo>
                    <a:pt x="6128" y="607"/>
                  </a:lnTo>
                  <a:lnTo>
                    <a:pt x="6633" y="809"/>
                  </a:lnTo>
                  <a:lnTo>
                    <a:pt x="7138" y="1078"/>
                  </a:lnTo>
                  <a:lnTo>
                    <a:pt x="7610" y="1381"/>
                  </a:lnTo>
                  <a:lnTo>
                    <a:pt x="8047" y="1752"/>
                  </a:lnTo>
                  <a:lnTo>
                    <a:pt x="8451" y="2122"/>
                  </a:lnTo>
                  <a:lnTo>
                    <a:pt x="8822" y="2560"/>
                  </a:lnTo>
                  <a:lnTo>
                    <a:pt x="9192" y="2997"/>
                  </a:lnTo>
                  <a:lnTo>
                    <a:pt x="9495" y="3536"/>
                  </a:lnTo>
                  <a:lnTo>
                    <a:pt x="9764" y="4075"/>
                  </a:lnTo>
                  <a:lnTo>
                    <a:pt x="9966" y="4647"/>
                  </a:lnTo>
                  <a:lnTo>
                    <a:pt x="10135" y="5219"/>
                  </a:lnTo>
                  <a:lnTo>
                    <a:pt x="10202" y="5792"/>
                  </a:lnTo>
                  <a:lnTo>
                    <a:pt x="10269" y="6398"/>
                  </a:lnTo>
                  <a:lnTo>
                    <a:pt x="10269" y="7004"/>
                  </a:lnTo>
                  <a:lnTo>
                    <a:pt x="10236" y="7610"/>
                  </a:lnTo>
                  <a:lnTo>
                    <a:pt x="10236" y="7677"/>
                  </a:lnTo>
                  <a:lnTo>
                    <a:pt x="10303" y="7711"/>
                  </a:lnTo>
                  <a:lnTo>
                    <a:pt x="10303" y="7778"/>
                  </a:lnTo>
                  <a:lnTo>
                    <a:pt x="10269" y="7845"/>
                  </a:lnTo>
                  <a:lnTo>
                    <a:pt x="10269" y="7913"/>
                  </a:lnTo>
                  <a:lnTo>
                    <a:pt x="10202" y="8384"/>
                  </a:lnTo>
                  <a:lnTo>
                    <a:pt x="10067" y="8822"/>
                  </a:lnTo>
                  <a:lnTo>
                    <a:pt x="9798" y="9664"/>
                  </a:lnTo>
                  <a:lnTo>
                    <a:pt x="9697" y="9967"/>
                  </a:lnTo>
                  <a:lnTo>
                    <a:pt x="9529" y="10270"/>
                  </a:lnTo>
                  <a:lnTo>
                    <a:pt x="9394" y="10573"/>
                  </a:lnTo>
                  <a:lnTo>
                    <a:pt x="9192" y="10842"/>
                  </a:lnTo>
                  <a:lnTo>
                    <a:pt x="8754" y="11381"/>
                  </a:lnTo>
                  <a:lnTo>
                    <a:pt x="8283" y="11852"/>
                  </a:lnTo>
                  <a:lnTo>
                    <a:pt x="8014" y="12088"/>
                  </a:lnTo>
                  <a:lnTo>
                    <a:pt x="7711" y="12323"/>
                  </a:lnTo>
                  <a:lnTo>
                    <a:pt x="7441" y="12525"/>
                  </a:lnTo>
                  <a:lnTo>
                    <a:pt x="7138" y="12694"/>
                  </a:lnTo>
                  <a:lnTo>
                    <a:pt x="6532" y="12963"/>
                  </a:lnTo>
                  <a:lnTo>
                    <a:pt x="5960" y="13165"/>
                  </a:lnTo>
                  <a:lnTo>
                    <a:pt x="5388" y="13300"/>
                  </a:lnTo>
                  <a:lnTo>
                    <a:pt x="4849" y="13401"/>
                  </a:lnTo>
                  <a:lnTo>
                    <a:pt x="3906" y="13535"/>
                  </a:lnTo>
                  <a:lnTo>
                    <a:pt x="2863" y="13535"/>
                  </a:lnTo>
                  <a:lnTo>
                    <a:pt x="2357" y="13468"/>
                  </a:lnTo>
                  <a:lnTo>
                    <a:pt x="1852" y="13367"/>
                  </a:lnTo>
                  <a:lnTo>
                    <a:pt x="1381" y="13232"/>
                  </a:lnTo>
                  <a:lnTo>
                    <a:pt x="910" y="13064"/>
                  </a:lnTo>
                  <a:lnTo>
                    <a:pt x="438" y="12828"/>
                  </a:lnTo>
                  <a:lnTo>
                    <a:pt x="1" y="12593"/>
                  </a:lnTo>
                  <a:lnTo>
                    <a:pt x="1" y="12828"/>
                  </a:lnTo>
                  <a:lnTo>
                    <a:pt x="438" y="13064"/>
                  </a:lnTo>
                  <a:lnTo>
                    <a:pt x="910" y="13300"/>
                  </a:lnTo>
                  <a:lnTo>
                    <a:pt x="1381" y="13468"/>
                  </a:lnTo>
                  <a:lnTo>
                    <a:pt x="1852" y="13603"/>
                  </a:lnTo>
                  <a:lnTo>
                    <a:pt x="2357" y="13704"/>
                  </a:lnTo>
                  <a:lnTo>
                    <a:pt x="2863" y="13737"/>
                  </a:lnTo>
                  <a:lnTo>
                    <a:pt x="3368" y="13771"/>
                  </a:lnTo>
                  <a:lnTo>
                    <a:pt x="3906" y="13737"/>
                  </a:lnTo>
                  <a:lnTo>
                    <a:pt x="4411" y="13704"/>
                  </a:lnTo>
                  <a:lnTo>
                    <a:pt x="4984" y="13636"/>
                  </a:lnTo>
                  <a:lnTo>
                    <a:pt x="5556" y="13502"/>
                  </a:lnTo>
                  <a:lnTo>
                    <a:pt x="6128" y="13333"/>
                  </a:lnTo>
                  <a:lnTo>
                    <a:pt x="6734" y="13098"/>
                  </a:lnTo>
                  <a:lnTo>
                    <a:pt x="7374" y="12795"/>
                  </a:lnTo>
                  <a:lnTo>
                    <a:pt x="7677" y="12626"/>
                  </a:lnTo>
                  <a:lnTo>
                    <a:pt x="7980" y="12391"/>
                  </a:lnTo>
                  <a:lnTo>
                    <a:pt x="8283" y="12155"/>
                  </a:lnTo>
                  <a:lnTo>
                    <a:pt x="8586" y="11886"/>
                  </a:lnTo>
                  <a:lnTo>
                    <a:pt x="9024" y="11414"/>
                  </a:lnTo>
                  <a:lnTo>
                    <a:pt x="9428" y="10876"/>
                  </a:lnTo>
                  <a:lnTo>
                    <a:pt x="9764" y="10303"/>
                  </a:lnTo>
                  <a:lnTo>
                    <a:pt x="9899" y="10000"/>
                  </a:lnTo>
                  <a:lnTo>
                    <a:pt x="10000" y="9697"/>
                  </a:lnTo>
                  <a:lnTo>
                    <a:pt x="10101" y="9360"/>
                  </a:lnTo>
                  <a:lnTo>
                    <a:pt x="10202" y="9024"/>
                  </a:lnTo>
                  <a:lnTo>
                    <a:pt x="10370" y="8317"/>
                  </a:lnTo>
                  <a:lnTo>
                    <a:pt x="10471" y="7980"/>
                  </a:lnTo>
                  <a:lnTo>
                    <a:pt x="11313" y="8047"/>
                  </a:lnTo>
                  <a:lnTo>
                    <a:pt x="12256" y="8047"/>
                  </a:lnTo>
                  <a:lnTo>
                    <a:pt x="12694" y="7980"/>
                  </a:lnTo>
                  <a:lnTo>
                    <a:pt x="12896" y="7913"/>
                  </a:lnTo>
                  <a:lnTo>
                    <a:pt x="13098" y="7845"/>
                  </a:lnTo>
                  <a:lnTo>
                    <a:pt x="13266" y="7711"/>
                  </a:lnTo>
                  <a:lnTo>
                    <a:pt x="13401" y="7576"/>
                  </a:lnTo>
                  <a:lnTo>
                    <a:pt x="13502" y="7408"/>
                  </a:lnTo>
                  <a:lnTo>
                    <a:pt x="13603" y="7239"/>
                  </a:lnTo>
                  <a:lnTo>
                    <a:pt x="13636" y="7004"/>
                  </a:lnTo>
                  <a:lnTo>
                    <a:pt x="13636" y="6768"/>
                  </a:lnTo>
                  <a:lnTo>
                    <a:pt x="13603" y="6566"/>
                  </a:lnTo>
                  <a:lnTo>
                    <a:pt x="13502" y="6398"/>
                  </a:lnTo>
                  <a:lnTo>
                    <a:pt x="13367" y="6229"/>
                  </a:lnTo>
                  <a:lnTo>
                    <a:pt x="13199" y="6061"/>
                  </a:lnTo>
                  <a:lnTo>
                    <a:pt x="13030" y="5960"/>
                  </a:lnTo>
                  <a:lnTo>
                    <a:pt x="12795" y="5893"/>
                  </a:lnTo>
                  <a:lnTo>
                    <a:pt x="12525" y="5859"/>
                  </a:lnTo>
                  <a:lnTo>
                    <a:pt x="12222" y="5859"/>
                  </a:lnTo>
                  <a:lnTo>
                    <a:pt x="11616" y="5926"/>
                  </a:lnTo>
                  <a:lnTo>
                    <a:pt x="10808" y="5926"/>
                  </a:lnTo>
                  <a:lnTo>
                    <a:pt x="10539" y="5994"/>
                  </a:lnTo>
                  <a:lnTo>
                    <a:pt x="10471" y="5489"/>
                  </a:lnTo>
                  <a:lnTo>
                    <a:pt x="10370" y="4984"/>
                  </a:lnTo>
                  <a:lnTo>
                    <a:pt x="10202" y="4512"/>
                  </a:lnTo>
                  <a:lnTo>
                    <a:pt x="10034" y="4041"/>
                  </a:lnTo>
                  <a:lnTo>
                    <a:pt x="9798" y="3570"/>
                  </a:lnTo>
                  <a:lnTo>
                    <a:pt x="9529" y="3132"/>
                  </a:lnTo>
                  <a:lnTo>
                    <a:pt x="9259" y="2694"/>
                  </a:lnTo>
                  <a:lnTo>
                    <a:pt x="8923" y="2324"/>
                  </a:lnTo>
                  <a:lnTo>
                    <a:pt x="8586" y="1920"/>
                  </a:lnTo>
                  <a:lnTo>
                    <a:pt x="8182" y="1583"/>
                  </a:lnTo>
                  <a:lnTo>
                    <a:pt x="7778" y="1280"/>
                  </a:lnTo>
                  <a:lnTo>
                    <a:pt x="7374" y="977"/>
                  </a:lnTo>
                  <a:lnTo>
                    <a:pt x="6903" y="708"/>
                  </a:lnTo>
                  <a:lnTo>
                    <a:pt x="6431" y="506"/>
                  </a:lnTo>
                  <a:lnTo>
                    <a:pt x="5960" y="304"/>
                  </a:lnTo>
                  <a:lnTo>
                    <a:pt x="5455" y="169"/>
                  </a:lnTo>
                  <a:lnTo>
                    <a:pt x="4815" y="68"/>
                  </a:lnTo>
                  <a:lnTo>
                    <a:pt x="414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0" name="Google Shape;700;p5"/>
            <p:cNvSpPr/>
            <p:nvPr/>
          </p:nvSpPr>
          <p:spPr>
            <a:xfrm>
              <a:off x="50" y="3314584"/>
              <a:ext cx="466388" cy="580432"/>
            </a:xfrm>
            <a:custGeom>
              <a:avLst/>
              <a:gdLst/>
              <a:ahLst/>
              <a:cxnLst/>
              <a:rect l="l" t="t" r="r" b="b"/>
              <a:pathLst>
                <a:path w="9361" h="11650" extrusionOk="0">
                  <a:moveTo>
                    <a:pt x="4445" y="371"/>
                  </a:moveTo>
                  <a:lnTo>
                    <a:pt x="5051" y="438"/>
                  </a:lnTo>
                  <a:lnTo>
                    <a:pt x="5623" y="607"/>
                  </a:lnTo>
                  <a:lnTo>
                    <a:pt x="6196" y="843"/>
                  </a:lnTo>
                  <a:lnTo>
                    <a:pt x="6701" y="1112"/>
                  </a:lnTo>
                  <a:lnTo>
                    <a:pt x="6398" y="1213"/>
                  </a:lnTo>
                  <a:lnTo>
                    <a:pt x="6398" y="1146"/>
                  </a:lnTo>
                  <a:lnTo>
                    <a:pt x="6330" y="1112"/>
                  </a:lnTo>
                  <a:lnTo>
                    <a:pt x="5758" y="1045"/>
                  </a:lnTo>
                  <a:lnTo>
                    <a:pt x="5219" y="1045"/>
                  </a:lnTo>
                  <a:lnTo>
                    <a:pt x="5421" y="977"/>
                  </a:lnTo>
                  <a:lnTo>
                    <a:pt x="5590" y="843"/>
                  </a:lnTo>
                  <a:lnTo>
                    <a:pt x="5657" y="809"/>
                  </a:lnTo>
                  <a:lnTo>
                    <a:pt x="5657" y="742"/>
                  </a:lnTo>
                  <a:lnTo>
                    <a:pt x="5623" y="674"/>
                  </a:lnTo>
                  <a:lnTo>
                    <a:pt x="5590" y="641"/>
                  </a:lnTo>
                  <a:lnTo>
                    <a:pt x="5287" y="573"/>
                  </a:lnTo>
                  <a:lnTo>
                    <a:pt x="4950" y="573"/>
                  </a:lnTo>
                  <a:lnTo>
                    <a:pt x="4613" y="607"/>
                  </a:lnTo>
                  <a:lnTo>
                    <a:pt x="4277" y="674"/>
                  </a:lnTo>
                  <a:lnTo>
                    <a:pt x="3603" y="809"/>
                  </a:lnTo>
                  <a:lnTo>
                    <a:pt x="2997" y="977"/>
                  </a:lnTo>
                  <a:lnTo>
                    <a:pt x="2554" y="1117"/>
                  </a:lnTo>
                  <a:lnTo>
                    <a:pt x="2554" y="1117"/>
                  </a:lnTo>
                  <a:lnTo>
                    <a:pt x="3098" y="910"/>
                  </a:lnTo>
                  <a:lnTo>
                    <a:pt x="3805" y="674"/>
                  </a:lnTo>
                  <a:lnTo>
                    <a:pt x="4445" y="371"/>
                  </a:lnTo>
                  <a:close/>
                  <a:moveTo>
                    <a:pt x="6835" y="1348"/>
                  </a:moveTo>
                  <a:lnTo>
                    <a:pt x="6633" y="1482"/>
                  </a:lnTo>
                  <a:lnTo>
                    <a:pt x="6364" y="1617"/>
                  </a:lnTo>
                  <a:lnTo>
                    <a:pt x="5859" y="1819"/>
                  </a:lnTo>
                  <a:lnTo>
                    <a:pt x="4849" y="2189"/>
                  </a:lnTo>
                  <a:lnTo>
                    <a:pt x="3637" y="2661"/>
                  </a:lnTo>
                  <a:lnTo>
                    <a:pt x="5017" y="2088"/>
                  </a:lnTo>
                  <a:lnTo>
                    <a:pt x="5893" y="1684"/>
                  </a:lnTo>
                  <a:lnTo>
                    <a:pt x="6364" y="1482"/>
                  </a:lnTo>
                  <a:lnTo>
                    <a:pt x="6835" y="1348"/>
                  </a:lnTo>
                  <a:close/>
                  <a:moveTo>
                    <a:pt x="5960" y="5522"/>
                  </a:moveTo>
                  <a:lnTo>
                    <a:pt x="5522" y="5758"/>
                  </a:lnTo>
                  <a:lnTo>
                    <a:pt x="5085" y="5960"/>
                  </a:lnTo>
                  <a:lnTo>
                    <a:pt x="4176" y="6297"/>
                  </a:lnTo>
                  <a:lnTo>
                    <a:pt x="4613" y="6095"/>
                  </a:lnTo>
                  <a:lnTo>
                    <a:pt x="5051" y="5893"/>
                  </a:lnTo>
                  <a:lnTo>
                    <a:pt x="5960" y="5522"/>
                  </a:lnTo>
                  <a:close/>
                  <a:moveTo>
                    <a:pt x="8485" y="2964"/>
                  </a:moveTo>
                  <a:lnTo>
                    <a:pt x="8620" y="3233"/>
                  </a:lnTo>
                  <a:lnTo>
                    <a:pt x="8519" y="3233"/>
                  </a:lnTo>
                  <a:lnTo>
                    <a:pt x="7879" y="3502"/>
                  </a:lnTo>
                  <a:lnTo>
                    <a:pt x="7239" y="3772"/>
                  </a:lnTo>
                  <a:lnTo>
                    <a:pt x="5960" y="4378"/>
                  </a:lnTo>
                  <a:lnTo>
                    <a:pt x="4714" y="5017"/>
                  </a:lnTo>
                  <a:lnTo>
                    <a:pt x="4075" y="5320"/>
                  </a:lnTo>
                  <a:lnTo>
                    <a:pt x="3435" y="5623"/>
                  </a:lnTo>
                  <a:lnTo>
                    <a:pt x="2088" y="6229"/>
                  </a:lnTo>
                  <a:lnTo>
                    <a:pt x="741" y="6835"/>
                  </a:lnTo>
                  <a:lnTo>
                    <a:pt x="102" y="7138"/>
                  </a:lnTo>
                  <a:lnTo>
                    <a:pt x="809" y="6701"/>
                  </a:lnTo>
                  <a:lnTo>
                    <a:pt x="1516" y="6297"/>
                  </a:lnTo>
                  <a:lnTo>
                    <a:pt x="2256" y="5926"/>
                  </a:lnTo>
                  <a:lnTo>
                    <a:pt x="3031" y="5590"/>
                  </a:lnTo>
                  <a:lnTo>
                    <a:pt x="4209" y="5051"/>
                  </a:lnTo>
                  <a:lnTo>
                    <a:pt x="5388" y="4411"/>
                  </a:lnTo>
                  <a:lnTo>
                    <a:pt x="5893" y="4108"/>
                  </a:lnTo>
                  <a:lnTo>
                    <a:pt x="6532" y="3839"/>
                  </a:lnTo>
                  <a:lnTo>
                    <a:pt x="7172" y="3570"/>
                  </a:lnTo>
                  <a:lnTo>
                    <a:pt x="7778" y="3334"/>
                  </a:lnTo>
                  <a:lnTo>
                    <a:pt x="8418" y="3065"/>
                  </a:lnTo>
                  <a:lnTo>
                    <a:pt x="8451" y="2997"/>
                  </a:lnTo>
                  <a:lnTo>
                    <a:pt x="8485" y="2964"/>
                  </a:lnTo>
                  <a:close/>
                  <a:moveTo>
                    <a:pt x="8687" y="3401"/>
                  </a:moveTo>
                  <a:lnTo>
                    <a:pt x="8889" y="3906"/>
                  </a:lnTo>
                  <a:lnTo>
                    <a:pt x="9024" y="4479"/>
                  </a:lnTo>
                  <a:lnTo>
                    <a:pt x="9091" y="5017"/>
                  </a:lnTo>
                  <a:lnTo>
                    <a:pt x="9125" y="5590"/>
                  </a:lnTo>
                  <a:lnTo>
                    <a:pt x="8552" y="5825"/>
                  </a:lnTo>
                  <a:lnTo>
                    <a:pt x="7576" y="6196"/>
                  </a:lnTo>
                  <a:lnTo>
                    <a:pt x="6633" y="6600"/>
                  </a:lnTo>
                  <a:lnTo>
                    <a:pt x="5691" y="7004"/>
                  </a:lnTo>
                  <a:lnTo>
                    <a:pt x="4782" y="7441"/>
                  </a:lnTo>
                  <a:lnTo>
                    <a:pt x="3738" y="8047"/>
                  </a:lnTo>
                  <a:lnTo>
                    <a:pt x="2661" y="8620"/>
                  </a:lnTo>
                  <a:lnTo>
                    <a:pt x="2357" y="8788"/>
                  </a:lnTo>
                  <a:lnTo>
                    <a:pt x="2021" y="8923"/>
                  </a:lnTo>
                  <a:lnTo>
                    <a:pt x="1347" y="9159"/>
                  </a:lnTo>
                  <a:lnTo>
                    <a:pt x="3368" y="7845"/>
                  </a:lnTo>
                  <a:lnTo>
                    <a:pt x="3839" y="7610"/>
                  </a:lnTo>
                  <a:lnTo>
                    <a:pt x="6229" y="6431"/>
                  </a:lnTo>
                  <a:lnTo>
                    <a:pt x="7441" y="5859"/>
                  </a:lnTo>
                  <a:lnTo>
                    <a:pt x="8081" y="5623"/>
                  </a:lnTo>
                  <a:lnTo>
                    <a:pt x="8721" y="5388"/>
                  </a:lnTo>
                  <a:lnTo>
                    <a:pt x="8754" y="5354"/>
                  </a:lnTo>
                  <a:lnTo>
                    <a:pt x="8788" y="5320"/>
                  </a:lnTo>
                  <a:lnTo>
                    <a:pt x="8788" y="5219"/>
                  </a:lnTo>
                  <a:lnTo>
                    <a:pt x="8754" y="5152"/>
                  </a:lnTo>
                  <a:lnTo>
                    <a:pt x="8687" y="5118"/>
                  </a:lnTo>
                  <a:lnTo>
                    <a:pt x="8620" y="5118"/>
                  </a:lnTo>
                  <a:lnTo>
                    <a:pt x="8047" y="5287"/>
                  </a:lnTo>
                  <a:lnTo>
                    <a:pt x="7509" y="5489"/>
                  </a:lnTo>
                  <a:lnTo>
                    <a:pt x="6398" y="5994"/>
                  </a:lnTo>
                  <a:lnTo>
                    <a:pt x="5388" y="6431"/>
                  </a:lnTo>
                  <a:lnTo>
                    <a:pt x="4378" y="6903"/>
                  </a:lnTo>
                  <a:lnTo>
                    <a:pt x="3738" y="7273"/>
                  </a:lnTo>
                  <a:lnTo>
                    <a:pt x="3098" y="7643"/>
                  </a:lnTo>
                  <a:lnTo>
                    <a:pt x="2088" y="8081"/>
                  </a:lnTo>
                  <a:lnTo>
                    <a:pt x="1044" y="8485"/>
                  </a:lnTo>
                  <a:lnTo>
                    <a:pt x="2088" y="7711"/>
                  </a:lnTo>
                  <a:lnTo>
                    <a:pt x="3098" y="6936"/>
                  </a:lnTo>
                  <a:lnTo>
                    <a:pt x="4108" y="6600"/>
                  </a:lnTo>
                  <a:lnTo>
                    <a:pt x="5118" y="6229"/>
                  </a:lnTo>
                  <a:lnTo>
                    <a:pt x="5590" y="6027"/>
                  </a:lnTo>
                  <a:lnTo>
                    <a:pt x="6061" y="5792"/>
                  </a:lnTo>
                  <a:lnTo>
                    <a:pt x="6802" y="5354"/>
                  </a:lnTo>
                  <a:lnTo>
                    <a:pt x="7138" y="5152"/>
                  </a:lnTo>
                  <a:lnTo>
                    <a:pt x="7509" y="4984"/>
                  </a:lnTo>
                  <a:lnTo>
                    <a:pt x="8317" y="4681"/>
                  </a:lnTo>
                  <a:lnTo>
                    <a:pt x="8350" y="4647"/>
                  </a:lnTo>
                  <a:lnTo>
                    <a:pt x="8384" y="4580"/>
                  </a:lnTo>
                  <a:lnTo>
                    <a:pt x="8384" y="4479"/>
                  </a:lnTo>
                  <a:lnTo>
                    <a:pt x="8350" y="4411"/>
                  </a:lnTo>
                  <a:lnTo>
                    <a:pt x="8249" y="4411"/>
                  </a:lnTo>
                  <a:lnTo>
                    <a:pt x="7778" y="4546"/>
                  </a:lnTo>
                  <a:lnTo>
                    <a:pt x="7374" y="4748"/>
                  </a:lnTo>
                  <a:lnTo>
                    <a:pt x="6330" y="5118"/>
                  </a:lnTo>
                  <a:lnTo>
                    <a:pt x="5354" y="5489"/>
                  </a:lnTo>
                  <a:lnTo>
                    <a:pt x="4849" y="5691"/>
                  </a:lnTo>
                  <a:lnTo>
                    <a:pt x="4344" y="5893"/>
                  </a:lnTo>
                  <a:lnTo>
                    <a:pt x="3873" y="6162"/>
                  </a:lnTo>
                  <a:lnTo>
                    <a:pt x="3401" y="6431"/>
                  </a:lnTo>
                  <a:lnTo>
                    <a:pt x="2930" y="6734"/>
                  </a:lnTo>
                  <a:lnTo>
                    <a:pt x="2155" y="7004"/>
                  </a:lnTo>
                  <a:lnTo>
                    <a:pt x="1381" y="7340"/>
                  </a:lnTo>
                  <a:lnTo>
                    <a:pt x="1145" y="7475"/>
                  </a:lnTo>
                  <a:lnTo>
                    <a:pt x="1516" y="7206"/>
                  </a:lnTo>
                  <a:lnTo>
                    <a:pt x="2122" y="6869"/>
                  </a:lnTo>
                  <a:lnTo>
                    <a:pt x="2728" y="6566"/>
                  </a:lnTo>
                  <a:lnTo>
                    <a:pt x="3974" y="5960"/>
                  </a:lnTo>
                  <a:lnTo>
                    <a:pt x="5118" y="5354"/>
                  </a:lnTo>
                  <a:lnTo>
                    <a:pt x="6196" y="4714"/>
                  </a:lnTo>
                  <a:lnTo>
                    <a:pt x="6802" y="4378"/>
                  </a:lnTo>
                  <a:lnTo>
                    <a:pt x="7408" y="4075"/>
                  </a:lnTo>
                  <a:lnTo>
                    <a:pt x="8653" y="3469"/>
                  </a:lnTo>
                  <a:lnTo>
                    <a:pt x="8687" y="3435"/>
                  </a:lnTo>
                  <a:lnTo>
                    <a:pt x="8687" y="3401"/>
                  </a:lnTo>
                  <a:close/>
                  <a:moveTo>
                    <a:pt x="7643" y="8856"/>
                  </a:moveTo>
                  <a:lnTo>
                    <a:pt x="7475" y="8990"/>
                  </a:lnTo>
                  <a:lnTo>
                    <a:pt x="7071" y="9226"/>
                  </a:lnTo>
                  <a:lnTo>
                    <a:pt x="7206" y="9125"/>
                  </a:lnTo>
                  <a:lnTo>
                    <a:pt x="7576" y="8889"/>
                  </a:lnTo>
                  <a:lnTo>
                    <a:pt x="7643" y="8856"/>
                  </a:lnTo>
                  <a:close/>
                  <a:moveTo>
                    <a:pt x="5152" y="9327"/>
                  </a:moveTo>
                  <a:lnTo>
                    <a:pt x="4647" y="9664"/>
                  </a:lnTo>
                  <a:lnTo>
                    <a:pt x="4142" y="9967"/>
                  </a:lnTo>
                  <a:lnTo>
                    <a:pt x="3772" y="10169"/>
                  </a:lnTo>
                  <a:lnTo>
                    <a:pt x="3772" y="10169"/>
                  </a:lnTo>
                  <a:lnTo>
                    <a:pt x="4108" y="9933"/>
                  </a:lnTo>
                  <a:lnTo>
                    <a:pt x="4613" y="9630"/>
                  </a:lnTo>
                  <a:lnTo>
                    <a:pt x="5152" y="9327"/>
                  </a:lnTo>
                  <a:close/>
                  <a:moveTo>
                    <a:pt x="6768" y="9697"/>
                  </a:moveTo>
                  <a:lnTo>
                    <a:pt x="6633" y="9832"/>
                  </a:lnTo>
                  <a:lnTo>
                    <a:pt x="6229" y="10202"/>
                  </a:lnTo>
                  <a:lnTo>
                    <a:pt x="6027" y="10337"/>
                  </a:lnTo>
                  <a:lnTo>
                    <a:pt x="5825" y="10505"/>
                  </a:lnTo>
                  <a:lnTo>
                    <a:pt x="5455" y="10674"/>
                  </a:lnTo>
                  <a:lnTo>
                    <a:pt x="5051" y="10808"/>
                  </a:lnTo>
                  <a:lnTo>
                    <a:pt x="5152" y="10741"/>
                  </a:lnTo>
                  <a:lnTo>
                    <a:pt x="5522" y="10472"/>
                  </a:lnTo>
                  <a:lnTo>
                    <a:pt x="5893" y="10202"/>
                  </a:lnTo>
                  <a:lnTo>
                    <a:pt x="6768" y="9697"/>
                  </a:lnTo>
                  <a:close/>
                  <a:moveTo>
                    <a:pt x="9125" y="5893"/>
                  </a:moveTo>
                  <a:lnTo>
                    <a:pt x="9091" y="6330"/>
                  </a:lnTo>
                  <a:lnTo>
                    <a:pt x="9024" y="6768"/>
                  </a:lnTo>
                  <a:lnTo>
                    <a:pt x="8889" y="7576"/>
                  </a:lnTo>
                  <a:lnTo>
                    <a:pt x="8754" y="7980"/>
                  </a:lnTo>
                  <a:lnTo>
                    <a:pt x="8620" y="8384"/>
                  </a:lnTo>
                  <a:lnTo>
                    <a:pt x="8451" y="8755"/>
                  </a:lnTo>
                  <a:lnTo>
                    <a:pt x="8249" y="9091"/>
                  </a:lnTo>
                  <a:lnTo>
                    <a:pt x="8014" y="9428"/>
                  </a:lnTo>
                  <a:lnTo>
                    <a:pt x="7778" y="9731"/>
                  </a:lnTo>
                  <a:lnTo>
                    <a:pt x="7509" y="10000"/>
                  </a:lnTo>
                  <a:lnTo>
                    <a:pt x="7239" y="10270"/>
                  </a:lnTo>
                  <a:lnTo>
                    <a:pt x="7172" y="10202"/>
                  </a:lnTo>
                  <a:lnTo>
                    <a:pt x="7105" y="10169"/>
                  </a:lnTo>
                  <a:lnTo>
                    <a:pt x="7037" y="10202"/>
                  </a:lnTo>
                  <a:lnTo>
                    <a:pt x="6701" y="10404"/>
                  </a:lnTo>
                  <a:lnTo>
                    <a:pt x="6532" y="10505"/>
                  </a:lnTo>
                  <a:lnTo>
                    <a:pt x="6364" y="10573"/>
                  </a:lnTo>
                  <a:lnTo>
                    <a:pt x="6364" y="10573"/>
                  </a:lnTo>
                  <a:lnTo>
                    <a:pt x="6734" y="10270"/>
                  </a:lnTo>
                  <a:lnTo>
                    <a:pt x="7138" y="9967"/>
                  </a:lnTo>
                  <a:lnTo>
                    <a:pt x="7576" y="9697"/>
                  </a:lnTo>
                  <a:lnTo>
                    <a:pt x="7980" y="9428"/>
                  </a:lnTo>
                  <a:lnTo>
                    <a:pt x="8014" y="9361"/>
                  </a:lnTo>
                  <a:lnTo>
                    <a:pt x="8014" y="9260"/>
                  </a:lnTo>
                  <a:lnTo>
                    <a:pt x="7946" y="9192"/>
                  </a:lnTo>
                  <a:lnTo>
                    <a:pt x="7643" y="9192"/>
                  </a:lnTo>
                  <a:lnTo>
                    <a:pt x="7845" y="9058"/>
                  </a:lnTo>
                  <a:lnTo>
                    <a:pt x="7980" y="8856"/>
                  </a:lnTo>
                  <a:lnTo>
                    <a:pt x="8014" y="8788"/>
                  </a:lnTo>
                  <a:lnTo>
                    <a:pt x="8014" y="8687"/>
                  </a:lnTo>
                  <a:lnTo>
                    <a:pt x="7980" y="8620"/>
                  </a:lnTo>
                  <a:lnTo>
                    <a:pt x="7879" y="8553"/>
                  </a:lnTo>
                  <a:lnTo>
                    <a:pt x="7812" y="8519"/>
                  </a:lnTo>
                  <a:lnTo>
                    <a:pt x="7711" y="8519"/>
                  </a:lnTo>
                  <a:lnTo>
                    <a:pt x="7542" y="8553"/>
                  </a:lnTo>
                  <a:lnTo>
                    <a:pt x="7307" y="8654"/>
                  </a:lnTo>
                  <a:lnTo>
                    <a:pt x="7105" y="8788"/>
                  </a:lnTo>
                  <a:lnTo>
                    <a:pt x="6734" y="9125"/>
                  </a:lnTo>
                  <a:lnTo>
                    <a:pt x="6465" y="9394"/>
                  </a:lnTo>
                  <a:lnTo>
                    <a:pt x="5960" y="9832"/>
                  </a:lnTo>
                  <a:lnTo>
                    <a:pt x="5421" y="10169"/>
                  </a:lnTo>
                  <a:lnTo>
                    <a:pt x="4916" y="10539"/>
                  </a:lnTo>
                  <a:lnTo>
                    <a:pt x="4512" y="10707"/>
                  </a:lnTo>
                  <a:lnTo>
                    <a:pt x="4075" y="10842"/>
                  </a:lnTo>
                  <a:lnTo>
                    <a:pt x="4075" y="10842"/>
                  </a:lnTo>
                  <a:lnTo>
                    <a:pt x="4546" y="10539"/>
                  </a:lnTo>
                  <a:lnTo>
                    <a:pt x="5017" y="10202"/>
                  </a:lnTo>
                  <a:lnTo>
                    <a:pt x="5994" y="9596"/>
                  </a:lnTo>
                  <a:lnTo>
                    <a:pt x="6465" y="9226"/>
                  </a:lnTo>
                  <a:lnTo>
                    <a:pt x="6936" y="8856"/>
                  </a:lnTo>
                  <a:lnTo>
                    <a:pt x="7206" y="8687"/>
                  </a:lnTo>
                  <a:lnTo>
                    <a:pt x="7441" y="8519"/>
                  </a:lnTo>
                  <a:lnTo>
                    <a:pt x="7711" y="8384"/>
                  </a:lnTo>
                  <a:lnTo>
                    <a:pt x="8014" y="8283"/>
                  </a:lnTo>
                  <a:lnTo>
                    <a:pt x="8317" y="8182"/>
                  </a:lnTo>
                  <a:lnTo>
                    <a:pt x="8384" y="8182"/>
                  </a:lnTo>
                  <a:lnTo>
                    <a:pt x="8418" y="8115"/>
                  </a:lnTo>
                  <a:lnTo>
                    <a:pt x="8418" y="8047"/>
                  </a:lnTo>
                  <a:lnTo>
                    <a:pt x="8384" y="7946"/>
                  </a:lnTo>
                  <a:lnTo>
                    <a:pt x="8249" y="7946"/>
                  </a:lnTo>
                  <a:lnTo>
                    <a:pt x="7913" y="8014"/>
                  </a:lnTo>
                  <a:lnTo>
                    <a:pt x="7408" y="8081"/>
                  </a:lnTo>
                  <a:lnTo>
                    <a:pt x="7138" y="8148"/>
                  </a:lnTo>
                  <a:lnTo>
                    <a:pt x="6869" y="8249"/>
                  </a:lnTo>
                  <a:lnTo>
                    <a:pt x="7172" y="8014"/>
                  </a:lnTo>
                  <a:lnTo>
                    <a:pt x="7576" y="7744"/>
                  </a:lnTo>
                  <a:lnTo>
                    <a:pt x="8014" y="7542"/>
                  </a:lnTo>
                  <a:lnTo>
                    <a:pt x="8889" y="7138"/>
                  </a:lnTo>
                  <a:lnTo>
                    <a:pt x="8956" y="7071"/>
                  </a:lnTo>
                  <a:lnTo>
                    <a:pt x="8956" y="6970"/>
                  </a:lnTo>
                  <a:lnTo>
                    <a:pt x="8889" y="6903"/>
                  </a:lnTo>
                  <a:lnTo>
                    <a:pt x="8822" y="6869"/>
                  </a:lnTo>
                  <a:lnTo>
                    <a:pt x="8620" y="6903"/>
                  </a:lnTo>
                  <a:lnTo>
                    <a:pt x="8418" y="6936"/>
                  </a:lnTo>
                  <a:lnTo>
                    <a:pt x="8081" y="7071"/>
                  </a:lnTo>
                  <a:lnTo>
                    <a:pt x="7744" y="7273"/>
                  </a:lnTo>
                  <a:lnTo>
                    <a:pt x="7408" y="7475"/>
                  </a:lnTo>
                  <a:lnTo>
                    <a:pt x="6330" y="8081"/>
                  </a:lnTo>
                  <a:lnTo>
                    <a:pt x="5287" y="8687"/>
                  </a:lnTo>
                  <a:lnTo>
                    <a:pt x="5085" y="8788"/>
                  </a:lnTo>
                  <a:lnTo>
                    <a:pt x="5455" y="8553"/>
                  </a:lnTo>
                  <a:lnTo>
                    <a:pt x="6162" y="7980"/>
                  </a:lnTo>
                  <a:lnTo>
                    <a:pt x="6869" y="7441"/>
                  </a:lnTo>
                  <a:lnTo>
                    <a:pt x="7239" y="7206"/>
                  </a:lnTo>
                  <a:lnTo>
                    <a:pt x="7610" y="6970"/>
                  </a:lnTo>
                  <a:lnTo>
                    <a:pt x="8014" y="6802"/>
                  </a:lnTo>
                  <a:lnTo>
                    <a:pt x="8451" y="6667"/>
                  </a:lnTo>
                  <a:lnTo>
                    <a:pt x="8519" y="6633"/>
                  </a:lnTo>
                  <a:lnTo>
                    <a:pt x="8552" y="6600"/>
                  </a:lnTo>
                  <a:lnTo>
                    <a:pt x="8552" y="6532"/>
                  </a:lnTo>
                  <a:lnTo>
                    <a:pt x="8519" y="6431"/>
                  </a:lnTo>
                  <a:lnTo>
                    <a:pt x="8485" y="6398"/>
                  </a:lnTo>
                  <a:lnTo>
                    <a:pt x="8418" y="6398"/>
                  </a:lnTo>
                  <a:lnTo>
                    <a:pt x="8081" y="6431"/>
                  </a:lnTo>
                  <a:lnTo>
                    <a:pt x="7744" y="6499"/>
                  </a:lnTo>
                  <a:lnTo>
                    <a:pt x="8216" y="6297"/>
                  </a:lnTo>
                  <a:lnTo>
                    <a:pt x="8687" y="6061"/>
                  </a:lnTo>
                  <a:lnTo>
                    <a:pt x="9125" y="5893"/>
                  </a:lnTo>
                  <a:close/>
                  <a:moveTo>
                    <a:pt x="6734" y="7172"/>
                  </a:moveTo>
                  <a:lnTo>
                    <a:pt x="6263" y="7542"/>
                  </a:lnTo>
                  <a:lnTo>
                    <a:pt x="5758" y="7946"/>
                  </a:lnTo>
                  <a:lnTo>
                    <a:pt x="5186" y="8418"/>
                  </a:lnTo>
                  <a:lnTo>
                    <a:pt x="4613" y="8822"/>
                  </a:lnTo>
                  <a:lnTo>
                    <a:pt x="3401" y="9596"/>
                  </a:lnTo>
                  <a:lnTo>
                    <a:pt x="2997" y="9798"/>
                  </a:lnTo>
                  <a:lnTo>
                    <a:pt x="2627" y="10034"/>
                  </a:lnTo>
                  <a:lnTo>
                    <a:pt x="2256" y="10270"/>
                  </a:lnTo>
                  <a:lnTo>
                    <a:pt x="1886" y="10539"/>
                  </a:lnTo>
                  <a:lnTo>
                    <a:pt x="1852" y="10573"/>
                  </a:lnTo>
                  <a:lnTo>
                    <a:pt x="1852" y="10640"/>
                  </a:lnTo>
                  <a:lnTo>
                    <a:pt x="1886" y="10707"/>
                  </a:lnTo>
                  <a:lnTo>
                    <a:pt x="1953" y="10775"/>
                  </a:lnTo>
                  <a:lnTo>
                    <a:pt x="2054" y="10775"/>
                  </a:lnTo>
                  <a:lnTo>
                    <a:pt x="3502" y="9832"/>
                  </a:lnTo>
                  <a:lnTo>
                    <a:pt x="4512" y="9361"/>
                  </a:lnTo>
                  <a:lnTo>
                    <a:pt x="4142" y="9563"/>
                  </a:lnTo>
                  <a:lnTo>
                    <a:pt x="3738" y="9832"/>
                  </a:lnTo>
                  <a:lnTo>
                    <a:pt x="3334" y="10135"/>
                  </a:lnTo>
                  <a:lnTo>
                    <a:pt x="2964" y="10438"/>
                  </a:lnTo>
                  <a:lnTo>
                    <a:pt x="2560" y="10741"/>
                  </a:lnTo>
                  <a:lnTo>
                    <a:pt x="2492" y="10775"/>
                  </a:lnTo>
                  <a:lnTo>
                    <a:pt x="2492" y="10808"/>
                  </a:lnTo>
                  <a:lnTo>
                    <a:pt x="2492" y="10909"/>
                  </a:lnTo>
                  <a:lnTo>
                    <a:pt x="2560" y="10977"/>
                  </a:lnTo>
                  <a:lnTo>
                    <a:pt x="2694" y="10977"/>
                  </a:lnTo>
                  <a:lnTo>
                    <a:pt x="2997" y="10775"/>
                  </a:lnTo>
                  <a:lnTo>
                    <a:pt x="3368" y="10640"/>
                  </a:lnTo>
                  <a:lnTo>
                    <a:pt x="3704" y="10472"/>
                  </a:lnTo>
                  <a:lnTo>
                    <a:pt x="4041" y="10303"/>
                  </a:lnTo>
                  <a:lnTo>
                    <a:pt x="4782" y="9899"/>
                  </a:lnTo>
                  <a:lnTo>
                    <a:pt x="5489" y="9428"/>
                  </a:lnTo>
                  <a:lnTo>
                    <a:pt x="6128" y="8990"/>
                  </a:lnTo>
                  <a:lnTo>
                    <a:pt x="6802" y="8586"/>
                  </a:lnTo>
                  <a:lnTo>
                    <a:pt x="6936" y="8519"/>
                  </a:lnTo>
                  <a:lnTo>
                    <a:pt x="6936" y="8519"/>
                  </a:lnTo>
                  <a:lnTo>
                    <a:pt x="6465" y="8856"/>
                  </a:lnTo>
                  <a:lnTo>
                    <a:pt x="5994" y="9226"/>
                  </a:lnTo>
                  <a:lnTo>
                    <a:pt x="5388" y="9664"/>
                  </a:lnTo>
                  <a:lnTo>
                    <a:pt x="4748" y="10101"/>
                  </a:lnTo>
                  <a:lnTo>
                    <a:pt x="4108" y="10505"/>
                  </a:lnTo>
                  <a:lnTo>
                    <a:pt x="3502" y="10977"/>
                  </a:lnTo>
                  <a:lnTo>
                    <a:pt x="3435" y="11044"/>
                  </a:lnTo>
                  <a:lnTo>
                    <a:pt x="3469" y="11111"/>
                  </a:lnTo>
                  <a:lnTo>
                    <a:pt x="3502" y="11179"/>
                  </a:lnTo>
                  <a:lnTo>
                    <a:pt x="3603" y="11212"/>
                  </a:lnTo>
                  <a:lnTo>
                    <a:pt x="3974" y="11179"/>
                  </a:lnTo>
                  <a:lnTo>
                    <a:pt x="4310" y="11078"/>
                  </a:lnTo>
                  <a:lnTo>
                    <a:pt x="4310" y="11145"/>
                  </a:lnTo>
                  <a:lnTo>
                    <a:pt x="4344" y="11246"/>
                  </a:lnTo>
                  <a:lnTo>
                    <a:pt x="4378" y="11280"/>
                  </a:lnTo>
                  <a:lnTo>
                    <a:pt x="4479" y="11280"/>
                  </a:lnTo>
                  <a:lnTo>
                    <a:pt x="5152" y="11044"/>
                  </a:lnTo>
                  <a:lnTo>
                    <a:pt x="5489" y="10943"/>
                  </a:lnTo>
                  <a:lnTo>
                    <a:pt x="5825" y="10808"/>
                  </a:lnTo>
                  <a:lnTo>
                    <a:pt x="5859" y="10876"/>
                  </a:lnTo>
                  <a:lnTo>
                    <a:pt x="5926" y="10909"/>
                  </a:lnTo>
                  <a:lnTo>
                    <a:pt x="6128" y="10909"/>
                  </a:lnTo>
                  <a:lnTo>
                    <a:pt x="6263" y="10876"/>
                  </a:lnTo>
                  <a:lnTo>
                    <a:pt x="6263" y="10876"/>
                  </a:lnTo>
                  <a:lnTo>
                    <a:pt x="5859" y="11044"/>
                  </a:lnTo>
                  <a:lnTo>
                    <a:pt x="5421" y="11212"/>
                  </a:lnTo>
                  <a:lnTo>
                    <a:pt x="4984" y="11313"/>
                  </a:lnTo>
                  <a:lnTo>
                    <a:pt x="4512" y="11381"/>
                  </a:lnTo>
                  <a:lnTo>
                    <a:pt x="4041" y="11414"/>
                  </a:lnTo>
                  <a:lnTo>
                    <a:pt x="3570" y="11381"/>
                  </a:lnTo>
                  <a:lnTo>
                    <a:pt x="3098" y="11347"/>
                  </a:lnTo>
                  <a:lnTo>
                    <a:pt x="2593" y="11246"/>
                  </a:lnTo>
                  <a:lnTo>
                    <a:pt x="2088" y="11111"/>
                  </a:lnTo>
                  <a:lnTo>
                    <a:pt x="1617" y="10943"/>
                  </a:lnTo>
                  <a:lnTo>
                    <a:pt x="1179" y="10741"/>
                  </a:lnTo>
                  <a:lnTo>
                    <a:pt x="741" y="10505"/>
                  </a:lnTo>
                  <a:lnTo>
                    <a:pt x="775" y="10505"/>
                  </a:lnTo>
                  <a:lnTo>
                    <a:pt x="1246" y="10236"/>
                  </a:lnTo>
                  <a:lnTo>
                    <a:pt x="1718" y="10034"/>
                  </a:lnTo>
                  <a:lnTo>
                    <a:pt x="2189" y="9832"/>
                  </a:lnTo>
                  <a:lnTo>
                    <a:pt x="2694" y="9630"/>
                  </a:lnTo>
                  <a:lnTo>
                    <a:pt x="3166" y="9394"/>
                  </a:lnTo>
                  <a:lnTo>
                    <a:pt x="3637" y="9125"/>
                  </a:lnTo>
                  <a:lnTo>
                    <a:pt x="4546" y="8586"/>
                  </a:lnTo>
                  <a:lnTo>
                    <a:pt x="5623" y="7845"/>
                  </a:lnTo>
                  <a:lnTo>
                    <a:pt x="6196" y="7475"/>
                  </a:lnTo>
                  <a:lnTo>
                    <a:pt x="6734" y="7172"/>
                  </a:lnTo>
                  <a:close/>
                  <a:moveTo>
                    <a:pt x="3637" y="1"/>
                  </a:moveTo>
                  <a:lnTo>
                    <a:pt x="3031" y="68"/>
                  </a:lnTo>
                  <a:lnTo>
                    <a:pt x="2492" y="203"/>
                  </a:lnTo>
                  <a:lnTo>
                    <a:pt x="1920" y="371"/>
                  </a:lnTo>
                  <a:lnTo>
                    <a:pt x="1415" y="573"/>
                  </a:lnTo>
                  <a:lnTo>
                    <a:pt x="910" y="843"/>
                  </a:lnTo>
                  <a:lnTo>
                    <a:pt x="438" y="1146"/>
                  </a:lnTo>
                  <a:lnTo>
                    <a:pt x="1" y="1516"/>
                  </a:lnTo>
                  <a:lnTo>
                    <a:pt x="1" y="1853"/>
                  </a:lnTo>
                  <a:lnTo>
                    <a:pt x="270" y="1617"/>
                  </a:lnTo>
                  <a:lnTo>
                    <a:pt x="539" y="1381"/>
                  </a:lnTo>
                  <a:lnTo>
                    <a:pt x="842" y="1179"/>
                  </a:lnTo>
                  <a:lnTo>
                    <a:pt x="1145" y="1011"/>
                  </a:lnTo>
                  <a:lnTo>
                    <a:pt x="1448" y="843"/>
                  </a:lnTo>
                  <a:lnTo>
                    <a:pt x="1785" y="674"/>
                  </a:lnTo>
                  <a:lnTo>
                    <a:pt x="2122" y="573"/>
                  </a:lnTo>
                  <a:lnTo>
                    <a:pt x="2122" y="573"/>
                  </a:lnTo>
                  <a:lnTo>
                    <a:pt x="1953" y="641"/>
                  </a:lnTo>
                  <a:lnTo>
                    <a:pt x="1448" y="876"/>
                  </a:lnTo>
                  <a:lnTo>
                    <a:pt x="977" y="1146"/>
                  </a:lnTo>
                  <a:lnTo>
                    <a:pt x="539" y="1449"/>
                  </a:lnTo>
                  <a:lnTo>
                    <a:pt x="506" y="1516"/>
                  </a:lnTo>
                  <a:lnTo>
                    <a:pt x="506" y="1583"/>
                  </a:lnTo>
                  <a:lnTo>
                    <a:pt x="539" y="1617"/>
                  </a:lnTo>
                  <a:lnTo>
                    <a:pt x="640" y="1617"/>
                  </a:lnTo>
                  <a:lnTo>
                    <a:pt x="1314" y="1213"/>
                  </a:lnTo>
                  <a:lnTo>
                    <a:pt x="2021" y="843"/>
                  </a:lnTo>
                  <a:lnTo>
                    <a:pt x="2492" y="674"/>
                  </a:lnTo>
                  <a:lnTo>
                    <a:pt x="2930" y="540"/>
                  </a:lnTo>
                  <a:lnTo>
                    <a:pt x="3401" y="438"/>
                  </a:lnTo>
                  <a:lnTo>
                    <a:pt x="3873" y="405"/>
                  </a:lnTo>
                  <a:lnTo>
                    <a:pt x="3873" y="405"/>
                  </a:lnTo>
                  <a:lnTo>
                    <a:pt x="2863" y="775"/>
                  </a:lnTo>
                  <a:lnTo>
                    <a:pt x="1852" y="1146"/>
                  </a:lnTo>
                  <a:lnTo>
                    <a:pt x="1347" y="1348"/>
                  </a:lnTo>
                  <a:lnTo>
                    <a:pt x="876" y="1583"/>
                  </a:lnTo>
                  <a:lnTo>
                    <a:pt x="405" y="1853"/>
                  </a:lnTo>
                  <a:lnTo>
                    <a:pt x="1" y="2156"/>
                  </a:lnTo>
                  <a:lnTo>
                    <a:pt x="1" y="2492"/>
                  </a:lnTo>
                  <a:lnTo>
                    <a:pt x="640" y="2189"/>
                  </a:lnTo>
                  <a:lnTo>
                    <a:pt x="1280" y="1886"/>
                  </a:lnTo>
                  <a:lnTo>
                    <a:pt x="1953" y="1617"/>
                  </a:lnTo>
                  <a:lnTo>
                    <a:pt x="2627" y="1348"/>
                  </a:lnTo>
                  <a:lnTo>
                    <a:pt x="3300" y="1146"/>
                  </a:lnTo>
                  <a:lnTo>
                    <a:pt x="4007" y="1011"/>
                  </a:lnTo>
                  <a:lnTo>
                    <a:pt x="4546" y="876"/>
                  </a:lnTo>
                  <a:lnTo>
                    <a:pt x="4849" y="843"/>
                  </a:lnTo>
                  <a:lnTo>
                    <a:pt x="5152" y="809"/>
                  </a:lnTo>
                  <a:lnTo>
                    <a:pt x="4815" y="944"/>
                  </a:lnTo>
                  <a:lnTo>
                    <a:pt x="4512" y="1011"/>
                  </a:lnTo>
                  <a:lnTo>
                    <a:pt x="3873" y="1179"/>
                  </a:lnTo>
                  <a:lnTo>
                    <a:pt x="3098" y="1415"/>
                  </a:lnTo>
                  <a:lnTo>
                    <a:pt x="2324" y="1684"/>
                  </a:lnTo>
                  <a:lnTo>
                    <a:pt x="1650" y="1920"/>
                  </a:lnTo>
                  <a:lnTo>
                    <a:pt x="842" y="2189"/>
                  </a:lnTo>
                  <a:lnTo>
                    <a:pt x="438" y="2324"/>
                  </a:lnTo>
                  <a:lnTo>
                    <a:pt x="1" y="2526"/>
                  </a:lnTo>
                  <a:lnTo>
                    <a:pt x="1" y="2829"/>
                  </a:lnTo>
                  <a:lnTo>
                    <a:pt x="236" y="2728"/>
                  </a:lnTo>
                  <a:lnTo>
                    <a:pt x="1" y="2863"/>
                  </a:lnTo>
                  <a:lnTo>
                    <a:pt x="1" y="3132"/>
                  </a:lnTo>
                  <a:lnTo>
                    <a:pt x="876" y="2627"/>
                  </a:lnTo>
                  <a:lnTo>
                    <a:pt x="1314" y="2391"/>
                  </a:lnTo>
                  <a:lnTo>
                    <a:pt x="1785" y="2189"/>
                  </a:lnTo>
                  <a:lnTo>
                    <a:pt x="2762" y="1819"/>
                  </a:lnTo>
                  <a:lnTo>
                    <a:pt x="3267" y="1651"/>
                  </a:lnTo>
                  <a:lnTo>
                    <a:pt x="3772" y="1516"/>
                  </a:lnTo>
                  <a:lnTo>
                    <a:pt x="4310" y="1415"/>
                  </a:lnTo>
                  <a:lnTo>
                    <a:pt x="4815" y="1314"/>
                  </a:lnTo>
                  <a:lnTo>
                    <a:pt x="5354" y="1280"/>
                  </a:lnTo>
                  <a:lnTo>
                    <a:pt x="5859" y="1314"/>
                  </a:lnTo>
                  <a:lnTo>
                    <a:pt x="5085" y="1550"/>
                  </a:lnTo>
                  <a:lnTo>
                    <a:pt x="3839" y="1987"/>
                  </a:lnTo>
                  <a:lnTo>
                    <a:pt x="1718" y="2795"/>
                  </a:lnTo>
                  <a:lnTo>
                    <a:pt x="842" y="3166"/>
                  </a:lnTo>
                  <a:lnTo>
                    <a:pt x="405" y="3368"/>
                  </a:lnTo>
                  <a:lnTo>
                    <a:pt x="1" y="3603"/>
                  </a:lnTo>
                  <a:lnTo>
                    <a:pt x="1" y="3906"/>
                  </a:lnTo>
                  <a:lnTo>
                    <a:pt x="539" y="3570"/>
                  </a:lnTo>
                  <a:lnTo>
                    <a:pt x="1145" y="3300"/>
                  </a:lnTo>
                  <a:lnTo>
                    <a:pt x="1718" y="3065"/>
                  </a:lnTo>
                  <a:lnTo>
                    <a:pt x="2290" y="2829"/>
                  </a:lnTo>
                  <a:lnTo>
                    <a:pt x="4411" y="2055"/>
                  </a:lnTo>
                  <a:lnTo>
                    <a:pt x="4512" y="2021"/>
                  </a:lnTo>
                  <a:lnTo>
                    <a:pt x="3300" y="2526"/>
                  </a:lnTo>
                  <a:lnTo>
                    <a:pt x="2155" y="2997"/>
                  </a:lnTo>
                  <a:lnTo>
                    <a:pt x="977" y="3502"/>
                  </a:lnTo>
                  <a:lnTo>
                    <a:pt x="506" y="3772"/>
                  </a:lnTo>
                  <a:lnTo>
                    <a:pt x="1" y="4075"/>
                  </a:lnTo>
                  <a:lnTo>
                    <a:pt x="1" y="4310"/>
                  </a:lnTo>
                  <a:lnTo>
                    <a:pt x="438" y="4041"/>
                  </a:lnTo>
                  <a:lnTo>
                    <a:pt x="977" y="3772"/>
                  </a:lnTo>
                  <a:lnTo>
                    <a:pt x="1516" y="3536"/>
                  </a:lnTo>
                  <a:lnTo>
                    <a:pt x="1516" y="3536"/>
                  </a:lnTo>
                  <a:lnTo>
                    <a:pt x="741" y="4007"/>
                  </a:lnTo>
                  <a:lnTo>
                    <a:pt x="1" y="4512"/>
                  </a:lnTo>
                  <a:lnTo>
                    <a:pt x="1" y="4782"/>
                  </a:lnTo>
                  <a:lnTo>
                    <a:pt x="236" y="4613"/>
                  </a:lnTo>
                  <a:lnTo>
                    <a:pt x="876" y="4209"/>
                  </a:lnTo>
                  <a:lnTo>
                    <a:pt x="1516" y="3839"/>
                  </a:lnTo>
                  <a:lnTo>
                    <a:pt x="2189" y="3502"/>
                  </a:lnTo>
                  <a:lnTo>
                    <a:pt x="2863" y="3199"/>
                  </a:lnTo>
                  <a:lnTo>
                    <a:pt x="4243" y="2694"/>
                  </a:lnTo>
                  <a:lnTo>
                    <a:pt x="5590" y="2189"/>
                  </a:lnTo>
                  <a:lnTo>
                    <a:pt x="6398" y="1853"/>
                  </a:lnTo>
                  <a:lnTo>
                    <a:pt x="6802" y="1684"/>
                  </a:lnTo>
                  <a:lnTo>
                    <a:pt x="7138" y="1415"/>
                  </a:lnTo>
                  <a:lnTo>
                    <a:pt x="7475" y="1718"/>
                  </a:lnTo>
                  <a:lnTo>
                    <a:pt x="7812" y="2055"/>
                  </a:lnTo>
                  <a:lnTo>
                    <a:pt x="8115" y="2425"/>
                  </a:lnTo>
                  <a:lnTo>
                    <a:pt x="8384" y="2795"/>
                  </a:lnTo>
                  <a:lnTo>
                    <a:pt x="8350" y="2795"/>
                  </a:lnTo>
                  <a:lnTo>
                    <a:pt x="8014" y="2829"/>
                  </a:lnTo>
                  <a:lnTo>
                    <a:pt x="7711" y="2896"/>
                  </a:lnTo>
                  <a:lnTo>
                    <a:pt x="7408" y="3031"/>
                  </a:lnTo>
                  <a:lnTo>
                    <a:pt x="7071" y="3166"/>
                  </a:lnTo>
                  <a:lnTo>
                    <a:pt x="6499" y="3469"/>
                  </a:lnTo>
                  <a:lnTo>
                    <a:pt x="5926" y="3805"/>
                  </a:lnTo>
                  <a:lnTo>
                    <a:pt x="5893" y="3805"/>
                  </a:lnTo>
                  <a:lnTo>
                    <a:pt x="3098" y="5118"/>
                  </a:lnTo>
                  <a:lnTo>
                    <a:pt x="2290" y="5455"/>
                  </a:lnTo>
                  <a:lnTo>
                    <a:pt x="2863" y="5118"/>
                  </a:lnTo>
                  <a:lnTo>
                    <a:pt x="4714" y="4007"/>
                  </a:lnTo>
                  <a:lnTo>
                    <a:pt x="5489" y="3772"/>
                  </a:lnTo>
                  <a:lnTo>
                    <a:pt x="6263" y="3469"/>
                  </a:lnTo>
                  <a:lnTo>
                    <a:pt x="7004" y="3166"/>
                  </a:lnTo>
                  <a:lnTo>
                    <a:pt x="7374" y="2964"/>
                  </a:lnTo>
                  <a:lnTo>
                    <a:pt x="7744" y="2762"/>
                  </a:lnTo>
                  <a:lnTo>
                    <a:pt x="7778" y="2694"/>
                  </a:lnTo>
                  <a:lnTo>
                    <a:pt x="7812" y="2627"/>
                  </a:lnTo>
                  <a:lnTo>
                    <a:pt x="7744" y="2560"/>
                  </a:lnTo>
                  <a:lnTo>
                    <a:pt x="7677" y="2526"/>
                  </a:lnTo>
                  <a:lnTo>
                    <a:pt x="7239" y="2593"/>
                  </a:lnTo>
                  <a:lnTo>
                    <a:pt x="6802" y="2694"/>
                  </a:lnTo>
                  <a:lnTo>
                    <a:pt x="6364" y="2829"/>
                  </a:lnTo>
                  <a:lnTo>
                    <a:pt x="5960" y="3031"/>
                  </a:lnTo>
                  <a:lnTo>
                    <a:pt x="5522" y="3199"/>
                  </a:lnTo>
                  <a:lnTo>
                    <a:pt x="5118" y="3435"/>
                  </a:lnTo>
                  <a:lnTo>
                    <a:pt x="4310" y="3906"/>
                  </a:lnTo>
                  <a:lnTo>
                    <a:pt x="3536" y="4176"/>
                  </a:lnTo>
                  <a:lnTo>
                    <a:pt x="2728" y="4445"/>
                  </a:lnTo>
                  <a:lnTo>
                    <a:pt x="2728" y="4445"/>
                  </a:lnTo>
                  <a:lnTo>
                    <a:pt x="4479" y="3502"/>
                  </a:lnTo>
                  <a:lnTo>
                    <a:pt x="5623" y="2896"/>
                  </a:lnTo>
                  <a:lnTo>
                    <a:pt x="6128" y="2627"/>
                  </a:lnTo>
                  <a:lnTo>
                    <a:pt x="6768" y="2425"/>
                  </a:lnTo>
                  <a:lnTo>
                    <a:pt x="7071" y="2290"/>
                  </a:lnTo>
                  <a:lnTo>
                    <a:pt x="7374" y="2156"/>
                  </a:lnTo>
                  <a:lnTo>
                    <a:pt x="7441" y="2122"/>
                  </a:lnTo>
                  <a:lnTo>
                    <a:pt x="7441" y="2021"/>
                  </a:lnTo>
                  <a:lnTo>
                    <a:pt x="7408" y="1954"/>
                  </a:lnTo>
                  <a:lnTo>
                    <a:pt x="7307" y="1920"/>
                  </a:lnTo>
                  <a:lnTo>
                    <a:pt x="6970" y="1987"/>
                  </a:lnTo>
                  <a:lnTo>
                    <a:pt x="6600" y="2088"/>
                  </a:lnTo>
                  <a:lnTo>
                    <a:pt x="6263" y="2257"/>
                  </a:lnTo>
                  <a:lnTo>
                    <a:pt x="5926" y="2425"/>
                  </a:lnTo>
                  <a:lnTo>
                    <a:pt x="5421" y="2593"/>
                  </a:lnTo>
                  <a:lnTo>
                    <a:pt x="4950" y="2762"/>
                  </a:lnTo>
                  <a:lnTo>
                    <a:pt x="3873" y="3199"/>
                  </a:lnTo>
                  <a:lnTo>
                    <a:pt x="2795" y="3671"/>
                  </a:lnTo>
                  <a:lnTo>
                    <a:pt x="472" y="4782"/>
                  </a:lnTo>
                  <a:lnTo>
                    <a:pt x="1" y="5017"/>
                  </a:lnTo>
                  <a:lnTo>
                    <a:pt x="1" y="5320"/>
                  </a:lnTo>
                  <a:lnTo>
                    <a:pt x="169" y="5219"/>
                  </a:lnTo>
                  <a:lnTo>
                    <a:pt x="2694" y="4007"/>
                  </a:lnTo>
                  <a:lnTo>
                    <a:pt x="4209" y="3334"/>
                  </a:lnTo>
                  <a:lnTo>
                    <a:pt x="2728" y="4142"/>
                  </a:lnTo>
                  <a:lnTo>
                    <a:pt x="1650" y="4681"/>
                  </a:lnTo>
                  <a:lnTo>
                    <a:pt x="539" y="5219"/>
                  </a:lnTo>
                  <a:lnTo>
                    <a:pt x="1" y="5556"/>
                  </a:lnTo>
                  <a:lnTo>
                    <a:pt x="1" y="5960"/>
                  </a:lnTo>
                  <a:lnTo>
                    <a:pt x="775" y="5590"/>
                  </a:lnTo>
                  <a:lnTo>
                    <a:pt x="1415" y="5287"/>
                  </a:lnTo>
                  <a:lnTo>
                    <a:pt x="2088" y="4984"/>
                  </a:lnTo>
                  <a:lnTo>
                    <a:pt x="3435" y="4445"/>
                  </a:lnTo>
                  <a:lnTo>
                    <a:pt x="2728" y="4883"/>
                  </a:lnTo>
                  <a:lnTo>
                    <a:pt x="2088" y="5253"/>
                  </a:lnTo>
                  <a:lnTo>
                    <a:pt x="1448" y="5590"/>
                  </a:lnTo>
                  <a:lnTo>
                    <a:pt x="135" y="6263"/>
                  </a:lnTo>
                  <a:lnTo>
                    <a:pt x="1" y="6330"/>
                  </a:lnTo>
                  <a:lnTo>
                    <a:pt x="1" y="6768"/>
                  </a:lnTo>
                  <a:lnTo>
                    <a:pt x="371" y="6566"/>
                  </a:lnTo>
                  <a:lnTo>
                    <a:pt x="842" y="6364"/>
                  </a:lnTo>
                  <a:lnTo>
                    <a:pt x="405" y="6600"/>
                  </a:lnTo>
                  <a:lnTo>
                    <a:pt x="1" y="6903"/>
                  </a:lnTo>
                  <a:lnTo>
                    <a:pt x="1" y="7509"/>
                  </a:lnTo>
                  <a:lnTo>
                    <a:pt x="1112" y="6970"/>
                  </a:lnTo>
                  <a:lnTo>
                    <a:pt x="2290" y="6398"/>
                  </a:lnTo>
                  <a:lnTo>
                    <a:pt x="3300" y="5977"/>
                  </a:lnTo>
                  <a:lnTo>
                    <a:pt x="3300" y="5977"/>
                  </a:lnTo>
                  <a:lnTo>
                    <a:pt x="2189" y="6532"/>
                  </a:lnTo>
                  <a:lnTo>
                    <a:pt x="1617" y="6835"/>
                  </a:lnTo>
                  <a:lnTo>
                    <a:pt x="1011" y="7206"/>
                  </a:lnTo>
                  <a:lnTo>
                    <a:pt x="573" y="7542"/>
                  </a:lnTo>
                  <a:lnTo>
                    <a:pt x="102" y="7879"/>
                  </a:lnTo>
                  <a:lnTo>
                    <a:pt x="1" y="7946"/>
                  </a:lnTo>
                  <a:lnTo>
                    <a:pt x="1" y="8485"/>
                  </a:lnTo>
                  <a:lnTo>
                    <a:pt x="640" y="8081"/>
                  </a:lnTo>
                  <a:lnTo>
                    <a:pt x="1314" y="7677"/>
                  </a:lnTo>
                  <a:lnTo>
                    <a:pt x="1718" y="7475"/>
                  </a:lnTo>
                  <a:lnTo>
                    <a:pt x="2122" y="7307"/>
                  </a:lnTo>
                  <a:lnTo>
                    <a:pt x="1078" y="8115"/>
                  </a:lnTo>
                  <a:lnTo>
                    <a:pt x="34" y="8923"/>
                  </a:lnTo>
                  <a:lnTo>
                    <a:pt x="1" y="8923"/>
                  </a:lnTo>
                  <a:lnTo>
                    <a:pt x="1" y="9293"/>
                  </a:lnTo>
                  <a:lnTo>
                    <a:pt x="236" y="9125"/>
                  </a:lnTo>
                  <a:lnTo>
                    <a:pt x="876" y="8856"/>
                  </a:lnTo>
                  <a:lnTo>
                    <a:pt x="1448" y="8620"/>
                  </a:lnTo>
                  <a:lnTo>
                    <a:pt x="1886" y="8451"/>
                  </a:lnTo>
                  <a:lnTo>
                    <a:pt x="1886" y="8451"/>
                  </a:lnTo>
                  <a:lnTo>
                    <a:pt x="1011" y="9024"/>
                  </a:lnTo>
                  <a:lnTo>
                    <a:pt x="135" y="9563"/>
                  </a:lnTo>
                  <a:lnTo>
                    <a:pt x="102" y="9596"/>
                  </a:lnTo>
                  <a:lnTo>
                    <a:pt x="68" y="9630"/>
                  </a:lnTo>
                  <a:lnTo>
                    <a:pt x="102" y="9731"/>
                  </a:lnTo>
                  <a:lnTo>
                    <a:pt x="135" y="9798"/>
                  </a:lnTo>
                  <a:lnTo>
                    <a:pt x="236" y="9798"/>
                  </a:lnTo>
                  <a:lnTo>
                    <a:pt x="1213" y="9495"/>
                  </a:lnTo>
                  <a:lnTo>
                    <a:pt x="1684" y="9327"/>
                  </a:lnTo>
                  <a:lnTo>
                    <a:pt x="2155" y="9159"/>
                  </a:lnTo>
                  <a:lnTo>
                    <a:pt x="2694" y="8889"/>
                  </a:lnTo>
                  <a:lnTo>
                    <a:pt x="3233" y="8620"/>
                  </a:lnTo>
                  <a:lnTo>
                    <a:pt x="4277" y="8047"/>
                  </a:lnTo>
                  <a:lnTo>
                    <a:pt x="5219" y="7542"/>
                  </a:lnTo>
                  <a:lnTo>
                    <a:pt x="6162" y="7105"/>
                  </a:lnTo>
                  <a:lnTo>
                    <a:pt x="5085" y="7744"/>
                  </a:lnTo>
                  <a:lnTo>
                    <a:pt x="2863" y="8990"/>
                  </a:lnTo>
                  <a:lnTo>
                    <a:pt x="640" y="10236"/>
                  </a:lnTo>
                  <a:lnTo>
                    <a:pt x="573" y="10303"/>
                  </a:lnTo>
                  <a:lnTo>
                    <a:pt x="573" y="10404"/>
                  </a:lnTo>
                  <a:lnTo>
                    <a:pt x="270" y="10169"/>
                  </a:lnTo>
                  <a:lnTo>
                    <a:pt x="1" y="9967"/>
                  </a:lnTo>
                  <a:lnTo>
                    <a:pt x="1" y="10270"/>
                  </a:lnTo>
                  <a:lnTo>
                    <a:pt x="371" y="10573"/>
                  </a:lnTo>
                  <a:lnTo>
                    <a:pt x="809" y="10808"/>
                  </a:lnTo>
                  <a:lnTo>
                    <a:pt x="1179" y="11010"/>
                  </a:lnTo>
                  <a:lnTo>
                    <a:pt x="1583" y="11212"/>
                  </a:lnTo>
                  <a:lnTo>
                    <a:pt x="1987" y="11347"/>
                  </a:lnTo>
                  <a:lnTo>
                    <a:pt x="2425" y="11482"/>
                  </a:lnTo>
                  <a:lnTo>
                    <a:pt x="2863" y="11549"/>
                  </a:lnTo>
                  <a:lnTo>
                    <a:pt x="3267" y="11616"/>
                  </a:lnTo>
                  <a:lnTo>
                    <a:pt x="3704" y="11650"/>
                  </a:lnTo>
                  <a:lnTo>
                    <a:pt x="4142" y="11650"/>
                  </a:lnTo>
                  <a:lnTo>
                    <a:pt x="4580" y="11616"/>
                  </a:lnTo>
                  <a:lnTo>
                    <a:pt x="5017" y="11549"/>
                  </a:lnTo>
                  <a:lnTo>
                    <a:pt x="5421" y="11448"/>
                  </a:lnTo>
                  <a:lnTo>
                    <a:pt x="5825" y="11347"/>
                  </a:lnTo>
                  <a:lnTo>
                    <a:pt x="6229" y="11179"/>
                  </a:lnTo>
                  <a:lnTo>
                    <a:pt x="6633" y="10977"/>
                  </a:lnTo>
                  <a:lnTo>
                    <a:pt x="7004" y="10741"/>
                  </a:lnTo>
                  <a:lnTo>
                    <a:pt x="7374" y="10505"/>
                  </a:lnTo>
                  <a:lnTo>
                    <a:pt x="7744" y="10135"/>
                  </a:lnTo>
                  <a:lnTo>
                    <a:pt x="8081" y="9731"/>
                  </a:lnTo>
                  <a:lnTo>
                    <a:pt x="8418" y="9293"/>
                  </a:lnTo>
                  <a:lnTo>
                    <a:pt x="8653" y="8856"/>
                  </a:lnTo>
                  <a:lnTo>
                    <a:pt x="8889" y="8350"/>
                  </a:lnTo>
                  <a:lnTo>
                    <a:pt x="9057" y="7812"/>
                  </a:lnTo>
                  <a:lnTo>
                    <a:pt x="9226" y="7273"/>
                  </a:lnTo>
                  <a:lnTo>
                    <a:pt x="9293" y="6734"/>
                  </a:lnTo>
                  <a:lnTo>
                    <a:pt x="9360" y="6196"/>
                  </a:lnTo>
                  <a:lnTo>
                    <a:pt x="9360" y="5623"/>
                  </a:lnTo>
                  <a:lnTo>
                    <a:pt x="9327" y="5085"/>
                  </a:lnTo>
                  <a:lnTo>
                    <a:pt x="9259" y="4546"/>
                  </a:lnTo>
                  <a:lnTo>
                    <a:pt x="9158" y="4007"/>
                  </a:lnTo>
                  <a:lnTo>
                    <a:pt x="8990" y="3502"/>
                  </a:lnTo>
                  <a:lnTo>
                    <a:pt x="8788" y="3031"/>
                  </a:lnTo>
                  <a:lnTo>
                    <a:pt x="8519" y="2560"/>
                  </a:lnTo>
                  <a:lnTo>
                    <a:pt x="8283" y="2189"/>
                  </a:lnTo>
                  <a:lnTo>
                    <a:pt x="7980" y="1853"/>
                  </a:lnTo>
                  <a:lnTo>
                    <a:pt x="7677" y="1550"/>
                  </a:lnTo>
                  <a:lnTo>
                    <a:pt x="7340" y="1247"/>
                  </a:lnTo>
                  <a:lnTo>
                    <a:pt x="7374" y="1179"/>
                  </a:lnTo>
                  <a:lnTo>
                    <a:pt x="7374" y="1112"/>
                  </a:lnTo>
                  <a:lnTo>
                    <a:pt x="7307" y="1045"/>
                  </a:lnTo>
                  <a:lnTo>
                    <a:pt x="7071" y="1045"/>
                  </a:lnTo>
                  <a:lnTo>
                    <a:pt x="6768" y="843"/>
                  </a:lnTo>
                  <a:lnTo>
                    <a:pt x="6431" y="674"/>
                  </a:lnTo>
                  <a:lnTo>
                    <a:pt x="6095" y="506"/>
                  </a:lnTo>
                  <a:lnTo>
                    <a:pt x="5758" y="371"/>
                  </a:lnTo>
                  <a:lnTo>
                    <a:pt x="5388" y="270"/>
                  </a:lnTo>
                  <a:lnTo>
                    <a:pt x="5051" y="203"/>
                  </a:lnTo>
                  <a:lnTo>
                    <a:pt x="4681" y="135"/>
                  </a:lnTo>
                  <a:lnTo>
                    <a:pt x="4310" y="102"/>
                  </a:lnTo>
                  <a:lnTo>
                    <a:pt x="4277" y="34"/>
                  </a:lnTo>
                  <a:lnTo>
                    <a:pt x="4209" y="34"/>
                  </a:lnTo>
                  <a:lnTo>
                    <a:pt x="363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01" name="Google Shape;701;p5"/>
          <p:cNvGrpSpPr/>
          <p:nvPr/>
        </p:nvGrpSpPr>
        <p:grpSpPr>
          <a:xfrm>
            <a:off x="7926507" y="-9"/>
            <a:ext cx="3366141" cy="1013257"/>
            <a:chOff x="4012455" y="-7"/>
            <a:chExt cx="2524606" cy="759943"/>
          </a:xfrm>
        </p:grpSpPr>
        <p:sp>
          <p:nvSpPr>
            <p:cNvPr id="702" name="Google Shape;702;p5"/>
            <p:cNvSpPr/>
            <p:nvPr/>
          </p:nvSpPr>
          <p:spPr>
            <a:xfrm>
              <a:off x="6114267" y="102328"/>
              <a:ext cx="112449" cy="10114"/>
            </a:xfrm>
            <a:custGeom>
              <a:avLst/>
              <a:gdLst/>
              <a:ahLst/>
              <a:cxnLst/>
              <a:rect l="l" t="t" r="r" b="b"/>
              <a:pathLst>
                <a:path w="2257" h="203" extrusionOk="0">
                  <a:moveTo>
                    <a:pt x="304" y="0"/>
                  </a:moveTo>
                  <a:lnTo>
                    <a:pt x="34" y="68"/>
                  </a:lnTo>
                  <a:lnTo>
                    <a:pt x="1" y="101"/>
                  </a:lnTo>
                  <a:lnTo>
                    <a:pt x="34" y="135"/>
                  </a:lnTo>
                  <a:lnTo>
                    <a:pt x="270" y="202"/>
                  </a:lnTo>
                  <a:lnTo>
                    <a:pt x="1920" y="202"/>
                  </a:lnTo>
                  <a:lnTo>
                    <a:pt x="2189" y="169"/>
                  </a:lnTo>
                  <a:lnTo>
                    <a:pt x="2223" y="135"/>
                  </a:lnTo>
                  <a:lnTo>
                    <a:pt x="2256" y="101"/>
                  </a:lnTo>
                  <a:lnTo>
                    <a:pt x="2223" y="68"/>
                  </a:lnTo>
                  <a:lnTo>
                    <a:pt x="2189" y="34"/>
                  </a:lnTo>
                  <a:lnTo>
                    <a:pt x="1953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3" name="Google Shape;703;p5"/>
            <p:cNvSpPr/>
            <p:nvPr/>
          </p:nvSpPr>
          <p:spPr>
            <a:xfrm>
              <a:off x="5763716" y="-7"/>
              <a:ext cx="538482" cy="320458"/>
            </a:xfrm>
            <a:custGeom>
              <a:avLst/>
              <a:gdLst/>
              <a:ahLst/>
              <a:cxnLst/>
              <a:rect l="l" t="t" r="r" b="b"/>
              <a:pathLst>
                <a:path w="10808" h="6432" extrusionOk="0">
                  <a:moveTo>
                    <a:pt x="6330" y="438"/>
                  </a:moveTo>
                  <a:lnTo>
                    <a:pt x="6195" y="910"/>
                  </a:lnTo>
                  <a:lnTo>
                    <a:pt x="6027" y="1381"/>
                  </a:lnTo>
                  <a:lnTo>
                    <a:pt x="6027" y="1213"/>
                  </a:lnTo>
                  <a:lnTo>
                    <a:pt x="5959" y="640"/>
                  </a:lnTo>
                  <a:lnTo>
                    <a:pt x="6330" y="438"/>
                  </a:lnTo>
                  <a:close/>
                  <a:moveTo>
                    <a:pt x="4781" y="1583"/>
                  </a:moveTo>
                  <a:lnTo>
                    <a:pt x="4747" y="2054"/>
                  </a:lnTo>
                  <a:lnTo>
                    <a:pt x="4478" y="2155"/>
                  </a:lnTo>
                  <a:lnTo>
                    <a:pt x="4512" y="1987"/>
                  </a:lnTo>
                  <a:lnTo>
                    <a:pt x="4512" y="1920"/>
                  </a:lnTo>
                  <a:lnTo>
                    <a:pt x="4478" y="1886"/>
                  </a:lnTo>
                  <a:lnTo>
                    <a:pt x="4781" y="1583"/>
                  </a:lnTo>
                  <a:close/>
                  <a:moveTo>
                    <a:pt x="5892" y="674"/>
                  </a:moveTo>
                  <a:lnTo>
                    <a:pt x="5892" y="1213"/>
                  </a:lnTo>
                  <a:lnTo>
                    <a:pt x="5926" y="1617"/>
                  </a:lnTo>
                  <a:lnTo>
                    <a:pt x="5791" y="1785"/>
                  </a:lnTo>
                  <a:lnTo>
                    <a:pt x="5656" y="1953"/>
                  </a:lnTo>
                  <a:lnTo>
                    <a:pt x="5656" y="1819"/>
                  </a:lnTo>
                  <a:lnTo>
                    <a:pt x="5589" y="1011"/>
                  </a:lnTo>
                  <a:lnTo>
                    <a:pt x="5522" y="1819"/>
                  </a:lnTo>
                  <a:lnTo>
                    <a:pt x="5488" y="2122"/>
                  </a:lnTo>
                  <a:lnTo>
                    <a:pt x="5151" y="2391"/>
                  </a:lnTo>
                  <a:lnTo>
                    <a:pt x="5118" y="2021"/>
                  </a:lnTo>
                  <a:lnTo>
                    <a:pt x="5118" y="1617"/>
                  </a:lnTo>
                  <a:lnTo>
                    <a:pt x="5151" y="1179"/>
                  </a:lnTo>
                  <a:lnTo>
                    <a:pt x="5522" y="910"/>
                  </a:lnTo>
                  <a:lnTo>
                    <a:pt x="5892" y="674"/>
                  </a:lnTo>
                  <a:close/>
                  <a:moveTo>
                    <a:pt x="5084" y="1280"/>
                  </a:moveTo>
                  <a:lnTo>
                    <a:pt x="5017" y="1583"/>
                  </a:lnTo>
                  <a:lnTo>
                    <a:pt x="4983" y="1886"/>
                  </a:lnTo>
                  <a:lnTo>
                    <a:pt x="4983" y="2189"/>
                  </a:lnTo>
                  <a:lnTo>
                    <a:pt x="5017" y="2492"/>
                  </a:lnTo>
                  <a:lnTo>
                    <a:pt x="4848" y="2593"/>
                  </a:lnTo>
                  <a:lnTo>
                    <a:pt x="4781" y="1549"/>
                  </a:lnTo>
                  <a:lnTo>
                    <a:pt x="4848" y="1482"/>
                  </a:lnTo>
                  <a:lnTo>
                    <a:pt x="5084" y="1280"/>
                  </a:lnTo>
                  <a:close/>
                  <a:moveTo>
                    <a:pt x="4747" y="2122"/>
                  </a:moveTo>
                  <a:lnTo>
                    <a:pt x="4714" y="2661"/>
                  </a:lnTo>
                  <a:lnTo>
                    <a:pt x="4512" y="2762"/>
                  </a:lnTo>
                  <a:lnTo>
                    <a:pt x="4512" y="2627"/>
                  </a:lnTo>
                  <a:lnTo>
                    <a:pt x="4478" y="2492"/>
                  </a:lnTo>
                  <a:lnTo>
                    <a:pt x="4444" y="2290"/>
                  </a:lnTo>
                  <a:lnTo>
                    <a:pt x="4747" y="2122"/>
                  </a:lnTo>
                  <a:close/>
                  <a:moveTo>
                    <a:pt x="4242" y="2425"/>
                  </a:moveTo>
                  <a:lnTo>
                    <a:pt x="4242" y="2458"/>
                  </a:lnTo>
                  <a:lnTo>
                    <a:pt x="4276" y="2661"/>
                  </a:lnTo>
                  <a:lnTo>
                    <a:pt x="4310" y="2762"/>
                  </a:lnTo>
                  <a:lnTo>
                    <a:pt x="4377" y="2829"/>
                  </a:lnTo>
                  <a:lnTo>
                    <a:pt x="4141" y="2896"/>
                  </a:lnTo>
                  <a:lnTo>
                    <a:pt x="3906" y="2964"/>
                  </a:lnTo>
                  <a:lnTo>
                    <a:pt x="3906" y="2964"/>
                  </a:lnTo>
                  <a:lnTo>
                    <a:pt x="4074" y="2559"/>
                  </a:lnTo>
                  <a:lnTo>
                    <a:pt x="4242" y="2425"/>
                  </a:lnTo>
                  <a:close/>
                  <a:moveTo>
                    <a:pt x="3704" y="2829"/>
                  </a:moveTo>
                  <a:lnTo>
                    <a:pt x="3670" y="2997"/>
                  </a:lnTo>
                  <a:lnTo>
                    <a:pt x="3535" y="2997"/>
                  </a:lnTo>
                  <a:lnTo>
                    <a:pt x="3704" y="2829"/>
                  </a:lnTo>
                  <a:close/>
                  <a:moveTo>
                    <a:pt x="67" y="1"/>
                  </a:moveTo>
                  <a:lnTo>
                    <a:pt x="0" y="270"/>
                  </a:lnTo>
                  <a:lnTo>
                    <a:pt x="0" y="539"/>
                  </a:lnTo>
                  <a:lnTo>
                    <a:pt x="34" y="809"/>
                  </a:lnTo>
                  <a:lnTo>
                    <a:pt x="67" y="1078"/>
                  </a:lnTo>
                  <a:lnTo>
                    <a:pt x="168" y="1347"/>
                  </a:lnTo>
                  <a:lnTo>
                    <a:pt x="269" y="1583"/>
                  </a:lnTo>
                  <a:lnTo>
                    <a:pt x="404" y="1819"/>
                  </a:lnTo>
                  <a:lnTo>
                    <a:pt x="539" y="2054"/>
                  </a:lnTo>
                  <a:lnTo>
                    <a:pt x="774" y="2324"/>
                  </a:lnTo>
                  <a:lnTo>
                    <a:pt x="1044" y="2559"/>
                  </a:lnTo>
                  <a:lnTo>
                    <a:pt x="1347" y="2762"/>
                  </a:lnTo>
                  <a:lnTo>
                    <a:pt x="1684" y="2896"/>
                  </a:lnTo>
                  <a:lnTo>
                    <a:pt x="2020" y="2997"/>
                  </a:lnTo>
                  <a:lnTo>
                    <a:pt x="2391" y="3098"/>
                  </a:lnTo>
                  <a:lnTo>
                    <a:pt x="2727" y="3166"/>
                  </a:lnTo>
                  <a:lnTo>
                    <a:pt x="3098" y="3199"/>
                  </a:lnTo>
                  <a:lnTo>
                    <a:pt x="2525" y="3805"/>
                  </a:lnTo>
                  <a:lnTo>
                    <a:pt x="2121" y="4243"/>
                  </a:lnTo>
                  <a:lnTo>
                    <a:pt x="1919" y="4512"/>
                  </a:lnTo>
                  <a:lnTo>
                    <a:pt x="1751" y="4782"/>
                  </a:lnTo>
                  <a:lnTo>
                    <a:pt x="1616" y="5051"/>
                  </a:lnTo>
                  <a:lnTo>
                    <a:pt x="1482" y="5320"/>
                  </a:lnTo>
                  <a:lnTo>
                    <a:pt x="1381" y="5623"/>
                  </a:lnTo>
                  <a:lnTo>
                    <a:pt x="1347" y="5926"/>
                  </a:lnTo>
                  <a:lnTo>
                    <a:pt x="1212" y="5691"/>
                  </a:lnTo>
                  <a:lnTo>
                    <a:pt x="1077" y="5455"/>
                  </a:lnTo>
                  <a:lnTo>
                    <a:pt x="1010" y="5354"/>
                  </a:lnTo>
                  <a:lnTo>
                    <a:pt x="875" y="5253"/>
                  </a:lnTo>
                  <a:lnTo>
                    <a:pt x="875" y="5354"/>
                  </a:lnTo>
                  <a:lnTo>
                    <a:pt x="943" y="5489"/>
                  </a:lnTo>
                  <a:lnTo>
                    <a:pt x="1044" y="5691"/>
                  </a:lnTo>
                  <a:lnTo>
                    <a:pt x="1414" y="6398"/>
                  </a:lnTo>
                  <a:lnTo>
                    <a:pt x="1448" y="6431"/>
                  </a:lnTo>
                  <a:lnTo>
                    <a:pt x="1482" y="6431"/>
                  </a:lnTo>
                  <a:lnTo>
                    <a:pt x="1583" y="6398"/>
                  </a:lnTo>
                  <a:lnTo>
                    <a:pt x="1785" y="6128"/>
                  </a:lnTo>
                  <a:lnTo>
                    <a:pt x="2020" y="5893"/>
                  </a:lnTo>
                  <a:lnTo>
                    <a:pt x="2256" y="5691"/>
                  </a:lnTo>
                  <a:lnTo>
                    <a:pt x="2492" y="5455"/>
                  </a:lnTo>
                  <a:lnTo>
                    <a:pt x="2525" y="5388"/>
                  </a:lnTo>
                  <a:lnTo>
                    <a:pt x="2492" y="5354"/>
                  </a:lnTo>
                  <a:lnTo>
                    <a:pt x="2458" y="5320"/>
                  </a:lnTo>
                  <a:lnTo>
                    <a:pt x="2391" y="5320"/>
                  </a:lnTo>
                  <a:lnTo>
                    <a:pt x="2155" y="5489"/>
                  </a:lnTo>
                  <a:lnTo>
                    <a:pt x="1919" y="5691"/>
                  </a:lnTo>
                  <a:lnTo>
                    <a:pt x="1684" y="5926"/>
                  </a:lnTo>
                  <a:lnTo>
                    <a:pt x="1482" y="6162"/>
                  </a:lnTo>
                  <a:lnTo>
                    <a:pt x="1448" y="6128"/>
                  </a:lnTo>
                  <a:lnTo>
                    <a:pt x="1684" y="5455"/>
                  </a:lnTo>
                  <a:lnTo>
                    <a:pt x="1987" y="4849"/>
                  </a:lnTo>
                  <a:lnTo>
                    <a:pt x="2155" y="4580"/>
                  </a:lnTo>
                  <a:lnTo>
                    <a:pt x="2323" y="4310"/>
                  </a:lnTo>
                  <a:lnTo>
                    <a:pt x="2795" y="3772"/>
                  </a:lnTo>
                  <a:lnTo>
                    <a:pt x="3333" y="3199"/>
                  </a:lnTo>
                  <a:lnTo>
                    <a:pt x="3636" y="3199"/>
                  </a:lnTo>
                  <a:lnTo>
                    <a:pt x="3603" y="3469"/>
                  </a:lnTo>
                  <a:lnTo>
                    <a:pt x="3603" y="3738"/>
                  </a:lnTo>
                  <a:lnTo>
                    <a:pt x="3636" y="3974"/>
                  </a:lnTo>
                  <a:lnTo>
                    <a:pt x="3704" y="4209"/>
                  </a:lnTo>
                  <a:lnTo>
                    <a:pt x="3805" y="4445"/>
                  </a:lnTo>
                  <a:lnTo>
                    <a:pt x="3906" y="4681"/>
                  </a:lnTo>
                  <a:lnTo>
                    <a:pt x="4074" y="4883"/>
                  </a:lnTo>
                  <a:lnTo>
                    <a:pt x="4242" y="5085"/>
                  </a:lnTo>
                  <a:lnTo>
                    <a:pt x="4411" y="5253"/>
                  </a:lnTo>
                  <a:lnTo>
                    <a:pt x="4613" y="5421"/>
                  </a:lnTo>
                  <a:lnTo>
                    <a:pt x="4848" y="5556"/>
                  </a:lnTo>
                  <a:lnTo>
                    <a:pt x="5084" y="5657"/>
                  </a:lnTo>
                  <a:lnTo>
                    <a:pt x="5353" y="5792"/>
                  </a:lnTo>
                  <a:lnTo>
                    <a:pt x="5623" y="5859"/>
                  </a:lnTo>
                  <a:lnTo>
                    <a:pt x="5892" y="5926"/>
                  </a:lnTo>
                  <a:lnTo>
                    <a:pt x="6599" y="5926"/>
                  </a:lnTo>
                  <a:lnTo>
                    <a:pt x="7003" y="5893"/>
                  </a:lnTo>
                  <a:lnTo>
                    <a:pt x="7407" y="5758"/>
                  </a:lnTo>
                  <a:lnTo>
                    <a:pt x="7811" y="5623"/>
                  </a:lnTo>
                  <a:lnTo>
                    <a:pt x="8215" y="5455"/>
                  </a:lnTo>
                  <a:lnTo>
                    <a:pt x="8585" y="5253"/>
                  </a:lnTo>
                  <a:lnTo>
                    <a:pt x="9292" y="4815"/>
                  </a:lnTo>
                  <a:lnTo>
                    <a:pt x="9865" y="4378"/>
                  </a:lnTo>
                  <a:lnTo>
                    <a:pt x="10101" y="4176"/>
                  </a:lnTo>
                  <a:lnTo>
                    <a:pt x="10336" y="3906"/>
                  </a:lnTo>
                  <a:lnTo>
                    <a:pt x="10538" y="3637"/>
                  </a:lnTo>
                  <a:lnTo>
                    <a:pt x="10673" y="3368"/>
                  </a:lnTo>
                  <a:lnTo>
                    <a:pt x="10774" y="3031"/>
                  </a:lnTo>
                  <a:lnTo>
                    <a:pt x="10808" y="2661"/>
                  </a:lnTo>
                  <a:lnTo>
                    <a:pt x="10808" y="2324"/>
                  </a:lnTo>
                  <a:lnTo>
                    <a:pt x="10774" y="1987"/>
                  </a:lnTo>
                  <a:lnTo>
                    <a:pt x="10707" y="1650"/>
                  </a:lnTo>
                  <a:lnTo>
                    <a:pt x="10606" y="1280"/>
                  </a:lnTo>
                  <a:lnTo>
                    <a:pt x="10505" y="943"/>
                  </a:lnTo>
                  <a:lnTo>
                    <a:pt x="10370" y="607"/>
                  </a:lnTo>
                  <a:lnTo>
                    <a:pt x="10202" y="304"/>
                  </a:lnTo>
                  <a:lnTo>
                    <a:pt x="10000" y="1"/>
                  </a:lnTo>
                  <a:lnTo>
                    <a:pt x="9730" y="1"/>
                  </a:lnTo>
                  <a:lnTo>
                    <a:pt x="9865" y="203"/>
                  </a:lnTo>
                  <a:lnTo>
                    <a:pt x="10000" y="405"/>
                  </a:lnTo>
                  <a:lnTo>
                    <a:pt x="10235" y="842"/>
                  </a:lnTo>
                  <a:lnTo>
                    <a:pt x="10404" y="1347"/>
                  </a:lnTo>
                  <a:lnTo>
                    <a:pt x="10505" y="1852"/>
                  </a:lnTo>
                  <a:lnTo>
                    <a:pt x="10572" y="2357"/>
                  </a:lnTo>
                  <a:lnTo>
                    <a:pt x="10572" y="2829"/>
                  </a:lnTo>
                  <a:lnTo>
                    <a:pt x="10471" y="3233"/>
                  </a:lnTo>
                  <a:lnTo>
                    <a:pt x="10437" y="3435"/>
                  </a:lnTo>
                  <a:lnTo>
                    <a:pt x="10336" y="3603"/>
                  </a:lnTo>
                  <a:lnTo>
                    <a:pt x="10168" y="3839"/>
                  </a:lnTo>
                  <a:lnTo>
                    <a:pt x="9966" y="4041"/>
                  </a:lnTo>
                  <a:lnTo>
                    <a:pt x="9730" y="4277"/>
                  </a:lnTo>
                  <a:lnTo>
                    <a:pt x="9461" y="4445"/>
                  </a:lnTo>
                  <a:lnTo>
                    <a:pt x="8922" y="4782"/>
                  </a:lnTo>
                  <a:lnTo>
                    <a:pt x="8417" y="5085"/>
                  </a:lnTo>
                  <a:lnTo>
                    <a:pt x="8080" y="5253"/>
                  </a:lnTo>
                  <a:lnTo>
                    <a:pt x="7777" y="5388"/>
                  </a:lnTo>
                  <a:lnTo>
                    <a:pt x="7441" y="5522"/>
                  </a:lnTo>
                  <a:lnTo>
                    <a:pt x="7104" y="5623"/>
                  </a:lnTo>
                  <a:lnTo>
                    <a:pt x="6734" y="5691"/>
                  </a:lnTo>
                  <a:lnTo>
                    <a:pt x="6397" y="5724"/>
                  </a:lnTo>
                  <a:lnTo>
                    <a:pt x="6027" y="5724"/>
                  </a:lnTo>
                  <a:lnTo>
                    <a:pt x="5690" y="5657"/>
                  </a:lnTo>
                  <a:lnTo>
                    <a:pt x="5387" y="5590"/>
                  </a:lnTo>
                  <a:lnTo>
                    <a:pt x="5118" y="5489"/>
                  </a:lnTo>
                  <a:lnTo>
                    <a:pt x="4848" y="5354"/>
                  </a:lnTo>
                  <a:lnTo>
                    <a:pt x="4613" y="5186"/>
                  </a:lnTo>
                  <a:lnTo>
                    <a:pt x="4377" y="4984"/>
                  </a:lnTo>
                  <a:lnTo>
                    <a:pt x="4209" y="4782"/>
                  </a:lnTo>
                  <a:lnTo>
                    <a:pt x="4040" y="4512"/>
                  </a:lnTo>
                  <a:lnTo>
                    <a:pt x="3906" y="4277"/>
                  </a:lnTo>
                  <a:lnTo>
                    <a:pt x="3805" y="4007"/>
                  </a:lnTo>
                  <a:lnTo>
                    <a:pt x="3771" y="3738"/>
                  </a:lnTo>
                  <a:lnTo>
                    <a:pt x="3771" y="3469"/>
                  </a:lnTo>
                  <a:lnTo>
                    <a:pt x="3838" y="3199"/>
                  </a:lnTo>
                  <a:lnTo>
                    <a:pt x="4074" y="3132"/>
                  </a:lnTo>
                  <a:lnTo>
                    <a:pt x="4276" y="3065"/>
                  </a:lnTo>
                  <a:lnTo>
                    <a:pt x="4747" y="2896"/>
                  </a:lnTo>
                  <a:lnTo>
                    <a:pt x="4747" y="3166"/>
                  </a:lnTo>
                  <a:lnTo>
                    <a:pt x="4781" y="3199"/>
                  </a:lnTo>
                  <a:lnTo>
                    <a:pt x="4815" y="3166"/>
                  </a:lnTo>
                  <a:lnTo>
                    <a:pt x="4848" y="2829"/>
                  </a:lnTo>
                  <a:lnTo>
                    <a:pt x="5084" y="2694"/>
                  </a:lnTo>
                  <a:lnTo>
                    <a:pt x="5118" y="2762"/>
                  </a:lnTo>
                  <a:lnTo>
                    <a:pt x="5151" y="2795"/>
                  </a:lnTo>
                  <a:lnTo>
                    <a:pt x="5185" y="2762"/>
                  </a:lnTo>
                  <a:lnTo>
                    <a:pt x="5185" y="2627"/>
                  </a:lnTo>
                  <a:lnTo>
                    <a:pt x="5522" y="2357"/>
                  </a:lnTo>
                  <a:lnTo>
                    <a:pt x="5555" y="2492"/>
                  </a:lnTo>
                  <a:lnTo>
                    <a:pt x="5555" y="2526"/>
                  </a:lnTo>
                  <a:lnTo>
                    <a:pt x="5623" y="2526"/>
                  </a:lnTo>
                  <a:lnTo>
                    <a:pt x="5623" y="2492"/>
                  </a:lnTo>
                  <a:lnTo>
                    <a:pt x="5656" y="2357"/>
                  </a:lnTo>
                  <a:lnTo>
                    <a:pt x="5690" y="2189"/>
                  </a:lnTo>
                  <a:lnTo>
                    <a:pt x="5993" y="1852"/>
                  </a:lnTo>
                  <a:lnTo>
                    <a:pt x="6027" y="1819"/>
                  </a:lnTo>
                  <a:lnTo>
                    <a:pt x="6128" y="1650"/>
                  </a:lnTo>
                  <a:lnTo>
                    <a:pt x="6229" y="1482"/>
                  </a:lnTo>
                  <a:lnTo>
                    <a:pt x="6363" y="1112"/>
                  </a:lnTo>
                  <a:lnTo>
                    <a:pt x="6565" y="337"/>
                  </a:lnTo>
                  <a:lnTo>
                    <a:pt x="6565" y="304"/>
                  </a:lnTo>
                  <a:lnTo>
                    <a:pt x="6969" y="135"/>
                  </a:lnTo>
                  <a:lnTo>
                    <a:pt x="7407" y="1"/>
                  </a:lnTo>
                  <a:lnTo>
                    <a:pt x="7104" y="1"/>
                  </a:lnTo>
                  <a:lnTo>
                    <a:pt x="6633" y="169"/>
                  </a:lnTo>
                  <a:lnTo>
                    <a:pt x="6666" y="1"/>
                  </a:lnTo>
                  <a:lnTo>
                    <a:pt x="6464" y="1"/>
                  </a:lnTo>
                  <a:lnTo>
                    <a:pt x="6363" y="270"/>
                  </a:lnTo>
                  <a:lnTo>
                    <a:pt x="6027" y="438"/>
                  </a:lnTo>
                  <a:lnTo>
                    <a:pt x="5724" y="607"/>
                  </a:lnTo>
                  <a:lnTo>
                    <a:pt x="5387" y="809"/>
                  </a:lnTo>
                  <a:lnTo>
                    <a:pt x="5084" y="1044"/>
                  </a:lnTo>
                  <a:lnTo>
                    <a:pt x="4815" y="1280"/>
                  </a:lnTo>
                  <a:lnTo>
                    <a:pt x="4545" y="1549"/>
                  </a:lnTo>
                  <a:lnTo>
                    <a:pt x="4276" y="1852"/>
                  </a:lnTo>
                  <a:lnTo>
                    <a:pt x="4040" y="2189"/>
                  </a:lnTo>
                  <a:lnTo>
                    <a:pt x="3838" y="2559"/>
                  </a:lnTo>
                  <a:lnTo>
                    <a:pt x="3569" y="2762"/>
                  </a:lnTo>
                  <a:lnTo>
                    <a:pt x="3300" y="2997"/>
                  </a:lnTo>
                  <a:lnTo>
                    <a:pt x="2963" y="2997"/>
                  </a:lnTo>
                  <a:lnTo>
                    <a:pt x="2626" y="2964"/>
                  </a:lnTo>
                  <a:lnTo>
                    <a:pt x="2290" y="2863"/>
                  </a:lnTo>
                  <a:lnTo>
                    <a:pt x="1953" y="2795"/>
                  </a:lnTo>
                  <a:lnTo>
                    <a:pt x="1650" y="2661"/>
                  </a:lnTo>
                  <a:lnTo>
                    <a:pt x="1347" y="2492"/>
                  </a:lnTo>
                  <a:lnTo>
                    <a:pt x="1077" y="2324"/>
                  </a:lnTo>
                  <a:lnTo>
                    <a:pt x="808" y="2088"/>
                  </a:lnTo>
                  <a:lnTo>
                    <a:pt x="640" y="1886"/>
                  </a:lnTo>
                  <a:lnTo>
                    <a:pt x="471" y="1650"/>
                  </a:lnTo>
                  <a:lnTo>
                    <a:pt x="337" y="1381"/>
                  </a:lnTo>
                  <a:lnTo>
                    <a:pt x="269" y="1112"/>
                  </a:lnTo>
                  <a:lnTo>
                    <a:pt x="202" y="842"/>
                  </a:lnTo>
                  <a:lnTo>
                    <a:pt x="168" y="573"/>
                  </a:lnTo>
                  <a:lnTo>
                    <a:pt x="135" y="270"/>
                  </a:lnTo>
                  <a:lnTo>
                    <a:pt x="16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4" name="Google Shape;704;p5"/>
            <p:cNvSpPr/>
            <p:nvPr/>
          </p:nvSpPr>
          <p:spPr>
            <a:xfrm>
              <a:off x="4012455" y="-7"/>
              <a:ext cx="2524606" cy="759943"/>
            </a:xfrm>
            <a:custGeom>
              <a:avLst/>
              <a:gdLst/>
              <a:ahLst/>
              <a:cxnLst/>
              <a:rect l="l" t="t" r="r" b="b"/>
              <a:pathLst>
                <a:path w="50672" h="15253" extrusionOk="0">
                  <a:moveTo>
                    <a:pt x="22592" y="5219"/>
                  </a:moveTo>
                  <a:lnTo>
                    <a:pt x="22558" y="5859"/>
                  </a:lnTo>
                  <a:lnTo>
                    <a:pt x="22154" y="5893"/>
                  </a:lnTo>
                  <a:lnTo>
                    <a:pt x="22188" y="5825"/>
                  </a:lnTo>
                  <a:lnTo>
                    <a:pt x="22188" y="5758"/>
                  </a:lnTo>
                  <a:lnTo>
                    <a:pt x="22154" y="5623"/>
                  </a:lnTo>
                  <a:lnTo>
                    <a:pt x="22121" y="5421"/>
                  </a:lnTo>
                  <a:lnTo>
                    <a:pt x="22087" y="5253"/>
                  </a:lnTo>
                  <a:lnTo>
                    <a:pt x="22558" y="5219"/>
                  </a:lnTo>
                  <a:close/>
                  <a:moveTo>
                    <a:pt x="21919" y="5253"/>
                  </a:moveTo>
                  <a:lnTo>
                    <a:pt x="21919" y="5590"/>
                  </a:lnTo>
                  <a:lnTo>
                    <a:pt x="21952" y="5758"/>
                  </a:lnTo>
                  <a:lnTo>
                    <a:pt x="21952" y="5859"/>
                  </a:lnTo>
                  <a:lnTo>
                    <a:pt x="21986" y="5926"/>
                  </a:lnTo>
                  <a:lnTo>
                    <a:pt x="21750" y="5960"/>
                  </a:lnTo>
                  <a:lnTo>
                    <a:pt x="21717" y="5792"/>
                  </a:lnTo>
                  <a:lnTo>
                    <a:pt x="21649" y="5623"/>
                  </a:lnTo>
                  <a:lnTo>
                    <a:pt x="21616" y="5455"/>
                  </a:lnTo>
                  <a:lnTo>
                    <a:pt x="21515" y="5287"/>
                  </a:lnTo>
                  <a:lnTo>
                    <a:pt x="21919" y="5253"/>
                  </a:lnTo>
                  <a:close/>
                  <a:moveTo>
                    <a:pt x="21447" y="5287"/>
                  </a:moveTo>
                  <a:lnTo>
                    <a:pt x="21447" y="5455"/>
                  </a:lnTo>
                  <a:lnTo>
                    <a:pt x="21481" y="5623"/>
                  </a:lnTo>
                  <a:lnTo>
                    <a:pt x="21515" y="5792"/>
                  </a:lnTo>
                  <a:lnTo>
                    <a:pt x="21548" y="5960"/>
                  </a:lnTo>
                  <a:lnTo>
                    <a:pt x="21313" y="5994"/>
                  </a:lnTo>
                  <a:lnTo>
                    <a:pt x="21313" y="5859"/>
                  </a:lnTo>
                  <a:lnTo>
                    <a:pt x="21279" y="5724"/>
                  </a:lnTo>
                  <a:lnTo>
                    <a:pt x="21178" y="5287"/>
                  </a:lnTo>
                  <a:close/>
                  <a:moveTo>
                    <a:pt x="21111" y="5287"/>
                  </a:moveTo>
                  <a:lnTo>
                    <a:pt x="21144" y="5691"/>
                  </a:lnTo>
                  <a:lnTo>
                    <a:pt x="21178" y="5859"/>
                  </a:lnTo>
                  <a:lnTo>
                    <a:pt x="21212" y="5994"/>
                  </a:lnTo>
                  <a:lnTo>
                    <a:pt x="20909" y="6027"/>
                  </a:lnTo>
                  <a:lnTo>
                    <a:pt x="20909" y="5960"/>
                  </a:lnTo>
                  <a:lnTo>
                    <a:pt x="20909" y="5859"/>
                  </a:lnTo>
                  <a:lnTo>
                    <a:pt x="20841" y="5724"/>
                  </a:lnTo>
                  <a:lnTo>
                    <a:pt x="20774" y="5320"/>
                  </a:lnTo>
                  <a:lnTo>
                    <a:pt x="21111" y="5287"/>
                  </a:lnTo>
                  <a:close/>
                  <a:moveTo>
                    <a:pt x="20673" y="5320"/>
                  </a:moveTo>
                  <a:lnTo>
                    <a:pt x="20673" y="5724"/>
                  </a:lnTo>
                  <a:lnTo>
                    <a:pt x="20673" y="5893"/>
                  </a:lnTo>
                  <a:lnTo>
                    <a:pt x="20707" y="5994"/>
                  </a:lnTo>
                  <a:lnTo>
                    <a:pt x="20740" y="6061"/>
                  </a:lnTo>
                  <a:lnTo>
                    <a:pt x="20471" y="6061"/>
                  </a:lnTo>
                  <a:lnTo>
                    <a:pt x="20471" y="5926"/>
                  </a:lnTo>
                  <a:lnTo>
                    <a:pt x="20437" y="5758"/>
                  </a:lnTo>
                  <a:lnTo>
                    <a:pt x="20404" y="5522"/>
                  </a:lnTo>
                  <a:lnTo>
                    <a:pt x="20370" y="5320"/>
                  </a:lnTo>
                  <a:close/>
                  <a:moveTo>
                    <a:pt x="20201" y="5320"/>
                  </a:moveTo>
                  <a:lnTo>
                    <a:pt x="20201" y="5522"/>
                  </a:lnTo>
                  <a:lnTo>
                    <a:pt x="20235" y="5691"/>
                  </a:lnTo>
                  <a:lnTo>
                    <a:pt x="20269" y="5893"/>
                  </a:lnTo>
                  <a:lnTo>
                    <a:pt x="20269" y="5994"/>
                  </a:lnTo>
                  <a:lnTo>
                    <a:pt x="20302" y="6095"/>
                  </a:lnTo>
                  <a:lnTo>
                    <a:pt x="20033" y="6128"/>
                  </a:lnTo>
                  <a:lnTo>
                    <a:pt x="19999" y="5893"/>
                  </a:lnTo>
                  <a:lnTo>
                    <a:pt x="19966" y="5623"/>
                  </a:lnTo>
                  <a:lnTo>
                    <a:pt x="19898" y="5354"/>
                  </a:lnTo>
                  <a:lnTo>
                    <a:pt x="20201" y="5320"/>
                  </a:lnTo>
                  <a:close/>
                  <a:moveTo>
                    <a:pt x="19730" y="5354"/>
                  </a:moveTo>
                  <a:lnTo>
                    <a:pt x="19764" y="5623"/>
                  </a:lnTo>
                  <a:lnTo>
                    <a:pt x="19764" y="5859"/>
                  </a:lnTo>
                  <a:lnTo>
                    <a:pt x="19797" y="5994"/>
                  </a:lnTo>
                  <a:lnTo>
                    <a:pt x="19831" y="6162"/>
                  </a:lnTo>
                  <a:lnTo>
                    <a:pt x="19528" y="6196"/>
                  </a:lnTo>
                  <a:lnTo>
                    <a:pt x="19494" y="5994"/>
                  </a:lnTo>
                  <a:lnTo>
                    <a:pt x="19461" y="5825"/>
                  </a:lnTo>
                  <a:lnTo>
                    <a:pt x="19427" y="5590"/>
                  </a:lnTo>
                  <a:lnTo>
                    <a:pt x="19360" y="5388"/>
                  </a:lnTo>
                  <a:lnTo>
                    <a:pt x="19730" y="5354"/>
                  </a:lnTo>
                  <a:close/>
                  <a:moveTo>
                    <a:pt x="22592" y="6095"/>
                  </a:moveTo>
                  <a:lnTo>
                    <a:pt x="22626" y="7071"/>
                  </a:lnTo>
                  <a:lnTo>
                    <a:pt x="22693" y="7778"/>
                  </a:lnTo>
                  <a:lnTo>
                    <a:pt x="22121" y="7778"/>
                  </a:lnTo>
                  <a:lnTo>
                    <a:pt x="21582" y="7845"/>
                  </a:lnTo>
                  <a:lnTo>
                    <a:pt x="20505" y="8014"/>
                  </a:lnTo>
                  <a:lnTo>
                    <a:pt x="19427" y="8115"/>
                  </a:lnTo>
                  <a:lnTo>
                    <a:pt x="18888" y="8182"/>
                  </a:lnTo>
                  <a:lnTo>
                    <a:pt x="18350" y="8317"/>
                  </a:lnTo>
                  <a:lnTo>
                    <a:pt x="18249" y="7441"/>
                  </a:lnTo>
                  <a:lnTo>
                    <a:pt x="18181" y="7037"/>
                  </a:lnTo>
                  <a:lnTo>
                    <a:pt x="18114" y="6633"/>
                  </a:lnTo>
                  <a:lnTo>
                    <a:pt x="18653" y="6600"/>
                  </a:lnTo>
                  <a:lnTo>
                    <a:pt x="19225" y="6532"/>
                  </a:lnTo>
                  <a:lnTo>
                    <a:pt x="20336" y="6398"/>
                  </a:lnTo>
                  <a:lnTo>
                    <a:pt x="21481" y="6229"/>
                  </a:lnTo>
                  <a:lnTo>
                    <a:pt x="22592" y="6095"/>
                  </a:lnTo>
                  <a:close/>
                  <a:moveTo>
                    <a:pt x="22693" y="7946"/>
                  </a:moveTo>
                  <a:lnTo>
                    <a:pt x="22760" y="8283"/>
                  </a:lnTo>
                  <a:lnTo>
                    <a:pt x="22828" y="8653"/>
                  </a:lnTo>
                  <a:lnTo>
                    <a:pt x="22356" y="8721"/>
                  </a:lnTo>
                  <a:lnTo>
                    <a:pt x="22289" y="8485"/>
                  </a:lnTo>
                  <a:lnTo>
                    <a:pt x="22222" y="8047"/>
                  </a:lnTo>
                  <a:lnTo>
                    <a:pt x="22693" y="7946"/>
                  </a:lnTo>
                  <a:close/>
                  <a:moveTo>
                    <a:pt x="22121" y="8047"/>
                  </a:moveTo>
                  <a:lnTo>
                    <a:pt x="22121" y="8249"/>
                  </a:lnTo>
                  <a:lnTo>
                    <a:pt x="22121" y="8451"/>
                  </a:lnTo>
                  <a:lnTo>
                    <a:pt x="22154" y="8721"/>
                  </a:lnTo>
                  <a:lnTo>
                    <a:pt x="21784" y="8788"/>
                  </a:lnTo>
                  <a:lnTo>
                    <a:pt x="21750" y="8586"/>
                  </a:lnTo>
                  <a:lnTo>
                    <a:pt x="21717" y="8418"/>
                  </a:lnTo>
                  <a:lnTo>
                    <a:pt x="21683" y="8249"/>
                  </a:lnTo>
                  <a:lnTo>
                    <a:pt x="21616" y="8115"/>
                  </a:lnTo>
                  <a:lnTo>
                    <a:pt x="22121" y="8047"/>
                  </a:lnTo>
                  <a:close/>
                  <a:moveTo>
                    <a:pt x="21481" y="8115"/>
                  </a:moveTo>
                  <a:lnTo>
                    <a:pt x="21481" y="8283"/>
                  </a:lnTo>
                  <a:lnTo>
                    <a:pt x="21515" y="8418"/>
                  </a:lnTo>
                  <a:lnTo>
                    <a:pt x="21548" y="8620"/>
                  </a:lnTo>
                  <a:lnTo>
                    <a:pt x="21582" y="8788"/>
                  </a:lnTo>
                  <a:lnTo>
                    <a:pt x="21313" y="8822"/>
                  </a:lnTo>
                  <a:lnTo>
                    <a:pt x="21245" y="8350"/>
                  </a:lnTo>
                  <a:lnTo>
                    <a:pt x="21178" y="8148"/>
                  </a:lnTo>
                  <a:lnTo>
                    <a:pt x="21481" y="8115"/>
                  </a:lnTo>
                  <a:close/>
                  <a:moveTo>
                    <a:pt x="20976" y="8182"/>
                  </a:moveTo>
                  <a:lnTo>
                    <a:pt x="21010" y="8384"/>
                  </a:lnTo>
                  <a:lnTo>
                    <a:pt x="21077" y="8855"/>
                  </a:lnTo>
                  <a:lnTo>
                    <a:pt x="20774" y="8889"/>
                  </a:lnTo>
                  <a:lnTo>
                    <a:pt x="20774" y="8721"/>
                  </a:lnTo>
                  <a:lnTo>
                    <a:pt x="20740" y="8552"/>
                  </a:lnTo>
                  <a:lnTo>
                    <a:pt x="20707" y="8384"/>
                  </a:lnTo>
                  <a:lnTo>
                    <a:pt x="20639" y="8216"/>
                  </a:lnTo>
                  <a:lnTo>
                    <a:pt x="20976" y="8182"/>
                  </a:lnTo>
                  <a:close/>
                  <a:moveTo>
                    <a:pt x="20505" y="8216"/>
                  </a:moveTo>
                  <a:lnTo>
                    <a:pt x="20505" y="8418"/>
                  </a:lnTo>
                  <a:lnTo>
                    <a:pt x="20538" y="8586"/>
                  </a:lnTo>
                  <a:lnTo>
                    <a:pt x="20538" y="8754"/>
                  </a:lnTo>
                  <a:lnTo>
                    <a:pt x="20606" y="8923"/>
                  </a:lnTo>
                  <a:lnTo>
                    <a:pt x="20336" y="8956"/>
                  </a:lnTo>
                  <a:lnTo>
                    <a:pt x="20336" y="8889"/>
                  </a:lnTo>
                  <a:lnTo>
                    <a:pt x="20336" y="8788"/>
                  </a:lnTo>
                  <a:lnTo>
                    <a:pt x="20302" y="8653"/>
                  </a:lnTo>
                  <a:lnTo>
                    <a:pt x="20235" y="8249"/>
                  </a:lnTo>
                  <a:lnTo>
                    <a:pt x="20505" y="8216"/>
                  </a:lnTo>
                  <a:close/>
                  <a:moveTo>
                    <a:pt x="20134" y="8283"/>
                  </a:moveTo>
                  <a:lnTo>
                    <a:pt x="20100" y="8451"/>
                  </a:lnTo>
                  <a:lnTo>
                    <a:pt x="20100" y="8620"/>
                  </a:lnTo>
                  <a:lnTo>
                    <a:pt x="20134" y="8822"/>
                  </a:lnTo>
                  <a:lnTo>
                    <a:pt x="20168" y="8889"/>
                  </a:lnTo>
                  <a:lnTo>
                    <a:pt x="20235" y="8956"/>
                  </a:lnTo>
                  <a:lnTo>
                    <a:pt x="19865" y="8990"/>
                  </a:lnTo>
                  <a:lnTo>
                    <a:pt x="19831" y="8788"/>
                  </a:lnTo>
                  <a:lnTo>
                    <a:pt x="19764" y="8552"/>
                  </a:lnTo>
                  <a:lnTo>
                    <a:pt x="19730" y="8350"/>
                  </a:lnTo>
                  <a:lnTo>
                    <a:pt x="20134" y="8283"/>
                  </a:lnTo>
                  <a:close/>
                  <a:moveTo>
                    <a:pt x="19629" y="8350"/>
                  </a:moveTo>
                  <a:lnTo>
                    <a:pt x="19595" y="8552"/>
                  </a:lnTo>
                  <a:lnTo>
                    <a:pt x="19595" y="8754"/>
                  </a:lnTo>
                  <a:lnTo>
                    <a:pt x="19629" y="9024"/>
                  </a:lnTo>
                  <a:lnTo>
                    <a:pt x="19292" y="9024"/>
                  </a:lnTo>
                  <a:lnTo>
                    <a:pt x="19326" y="8956"/>
                  </a:lnTo>
                  <a:lnTo>
                    <a:pt x="19326" y="8889"/>
                  </a:lnTo>
                  <a:lnTo>
                    <a:pt x="19292" y="8754"/>
                  </a:lnTo>
                  <a:lnTo>
                    <a:pt x="19259" y="8586"/>
                  </a:lnTo>
                  <a:lnTo>
                    <a:pt x="19191" y="8418"/>
                  </a:lnTo>
                  <a:lnTo>
                    <a:pt x="19629" y="8350"/>
                  </a:lnTo>
                  <a:close/>
                  <a:moveTo>
                    <a:pt x="809" y="8855"/>
                  </a:moveTo>
                  <a:lnTo>
                    <a:pt x="842" y="9024"/>
                  </a:lnTo>
                  <a:lnTo>
                    <a:pt x="842" y="9226"/>
                  </a:lnTo>
                  <a:lnTo>
                    <a:pt x="640" y="9259"/>
                  </a:lnTo>
                  <a:lnTo>
                    <a:pt x="438" y="9327"/>
                  </a:lnTo>
                  <a:lnTo>
                    <a:pt x="337" y="9091"/>
                  </a:lnTo>
                  <a:lnTo>
                    <a:pt x="203" y="8855"/>
                  </a:lnTo>
                  <a:lnTo>
                    <a:pt x="405" y="8855"/>
                  </a:lnTo>
                  <a:lnTo>
                    <a:pt x="607" y="8889"/>
                  </a:lnTo>
                  <a:lnTo>
                    <a:pt x="708" y="8889"/>
                  </a:lnTo>
                  <a:lnTo>
                    <a:pt x="809" y="8855"/>
                  </a:lnTo>
                  <a:close/>
                  <a:moveTo>
                    <a:pt x="876" y="8586"/>
                  </a:moveTo>
                  <a:lnTo>
                    <a:pt x="1078" y="8620"/>
                  </a:lnTo>
                  <a:lnTo>
                    <a:pt x="1448" y="8620"/>
                  </a:lnTo>
                  <a:lnTo>
                    <a:pt x="1482" y="8855"/>
                  </a:lnTo>
                  <a:lnTo>
                    <a:pt x="1516" y="9091"/>
                  </a:lnTo>
                  <a:lnTo>
                    <a:pt x="1516" y="9293"/>
                  </a:lnTo>
                  <a:lnTo>
                    <a:pt x="1213" y="9360"/>
                  </a:lnTo>
                  <a:lnTo>
                    <a:pt x="1044" y="9360"/>
                  </a:lnTo>
                  <a:lnTo>
                    <a:pt x="1044" y="9259"/>
                  </a:lnTo>
                  <a:lnTo>
                    <a:pt x="1044" y="9226"/>
                  </a:lnTo>
                  <a:lnTo>
                    <a:pt x="1011" y="9024"/>
                  </a:lnTo>
                  <a:lnTo>
                    <a:pt x="977" y="8788"/>
                  </a:lnTo>
                  <a:lnTo>
                    <a:pt x="876" y="8586"/>
                  </a:lnTo>
                  <a:close/>
                  <a:moveTo>
                    <a:pt x="19191" y="5388"/>
                  </a:moveTo>
                  <a:lnTo>
                    <a:pt x="19191" y="5590"/>
                  </a:lnTo>
                  <a:lnTo>
                    <a:pt x="19225" y="5825"/>
                  </a:lnTo>
                  <a:lnTo>
                    <a:pt x="19259" y="6027"/>
                  </a:lnTo>
                  <a:lnTo>
                    <a:pt x="19326" y="6229"/>
                  </a:lnTo>
                  <a:lnTo>
                    <a:pt x="18686" y="6330"/>
                  </a:lnTo>
                  <a:lnTo>
                    <a:pt x="18047" y="6465"/>
                  </a:lnTo>
                  <a:lnTo>
                    <a:pt x="18013" y="6465"/>
                  </a:lnTo>
                  <a:lnTo>
                    <a:pt x="17979" y="6499"/>
                  </a:lnTo>
                  <a:lnTo>
                    <a:pt x="17946" y="6532"/>
                  </a:lnTo>
                  <a:lnTo>
                    <a:pt x="17946" y="6566"/>
                  </a:lnTo>
                  <a:lnTo>
                    <a:pt x="17979" y="6600"/>
                  </a:lnTo>
                  <a:lnTo>
                    <a:pt x="17979" y="7105"/>
                  </a:lnTo>
                  <a:lnTo>
                    <a:pt x="18013" y="7576"/>
                  </a:lnTo>
                  <a:lnTo>
                    <a:pt x="18181" y="8552"/>
                  </a:lnTo>
                  <a:lnTo>
                    <a:pt x="18215" y="8586"/>
                  </a:lnTo>
                  <a:lnTo>
                    <a:pt x="18249" y="8620"/>
                  </a:lnTo>
                  <a:lnTo>
                    <a:pt x="18316" y="8620"/>
                  </a:lnTo>
                  <a:lnTo>
                    <a:pt x="18383" y="8586"/>
                  </a:lnTo>
                  <a:lnTo>
                    <a:pt x="18383" y="8485"/>
                  </a:lnTo>
                  <a:lnTo>
                    <a:pt x="18383" y="8418"/>
                  </a:lnTo>
                  <a:lnTo>
                    <a:pt x="18754" y="8451"/>
                  </a:lnTo>
                  <a:lnTo>
                    <a:pt x="19124" y="8418"/>
                  </a:lnTo>
                  <a:lnTo>
                    <a:pt x="19124" y="8552"/>
                  </a:lnTo>
                  <a:lnTo>
                    <a:pt x="19124" y="8721"/>
                  </a:lnTo>
                  <a:lnTo>
                    <a:pt x="19124" y="8889"/>
                  </a:lnTo>
                  <a:lnTo>
                    <a:pt x="19158" y="8990"/>
                  </a:lnTo>
                  <a:lnTo>
                    <a:pt x="19191" y="9057"/>
                  </a:lnTo>
                  <a:lnTo>
                    <a:pt x="18855" y="9091"/>
                  </a:lnTo>
                  <a:lnTo>
                    <a:pt x="18552" y="9158"/>
                  </a:lnTo>
                  <a:lnTo>
                    <a:pt x="18249" y="9226"/>
                  </a:lnTo>
                  <a:lnTo>
                    <a:pt x="17979" y="9360"/>
                  </a:lnTo>
                  <a:lnTo>
                    <a:pt x="17946" y="9327"/>
                  </a:lnTo>
                  <a:lnTo>
                    <a:pt x="17744" y="8182"/>
                  </a:lnTo>
                  <a:lnTo>
                    <a:pt x="17676" y="7576"/>
                  </a:lnTo>
                  <a:lnTo>
                    <a:pt x="17643" y="7004"/>
                  </a:lnTo>
                  <a:lnTo>
                    <a:pt x="17643" y="6667"/>
                  </a:lnTo>
                  <a:lnTo>
                    <a:pt x="17643" y="6297"/>
                  </a:lnTo>
                  <a:lnTo>
                    <a:pt x="17643" y="5893"/>
                  </a:lnTo>
                  <a:lnTo>
                    <a:pt x="17575" y="5556"/>
                  </a:lnTo>
                  <a:lnTo>
                    <a:pt x="18215" y="5489"/>
                  </a:lnTo>
                  <a:lnTo>
                    <a:pt x="18821" y="5421"/>
                  </a:lnTo>
                  <a:lnTo>
                    <a:pt x="18821" y="5590"/>
                  </a:lnTo>
                  <a:lnTo>
                    <a:pt x="18821" y="6128"/>
                  </a:lnTo>
                  <a:lnTo>
                    <a:pt x="18821" y="6196"/>
                  </a:lnTo>
                  <a:lnTo>
                    <a:pt x="18888" y="6229"/>
                  </a:lnTo>
                  <a:lnTo>
                    <a:pt x="18922" y="6263"/>
                  </a:lnTo>
                  <a:lnTo>
                    <a:pt x="18989" y="6229"/>
                  </a:lnTo>
                  <a:lnTo>
                    <a:pt x="19023" y="6196"/>
                  </a:lnTo>
                  <a:lnTo>
                    <a:pt x="19023" y="6128"/>
                  </a:lnTo>
                  <a:lnTo>
                    <a:pt x="19023" y="5792"/>
                  </a:lnTo>
                  <a:lnTo>
                    <a:pt x="18989" y="5421"/>
                  </a:lnTo>
                  <a:lnTo>
                    <a:pt x="19191" y="5388"/>
                  </a:lnTo>
                  <a:close/>
                  <a:moveTo>
                    <a:pt x="3401" y="7441"/>
                  </a:moveTo>
                  <a:lnTo>
                    <a:pt x="3367" y="7744"/>
                  </a:lnTo>
                  <a:lnTo>
                    <a:pt x="3334" y="8047"/>
                  </a:lnTo>
                  <a:lnTo>
                    <a:pt x="3300" y="8687"/>
                  </a:lnTo>
                  <a:lnTo>
                    <a:pt x="3334" y="9360"/>
                  </a:lnTo>
                  <a:lnTo>
                    <a:pt x="3401" y="10000"/>
                  </a:lnTo>
                  <a:lnTo>
                    <a:pt x="2862" y="9865"/>
                  </a:lnTo>
                  <a:lnTo>
                    <a:pt x="2627" y="9764"/>
                  </a:lnTo>
                  <a:lnTo>
                    <a:pt x="2391" y="9663"/>
                  </a:lnTo>
                  <a:lnTo>
                    <a:pt x="2189" y="9529"/>
                  </a:lnTo>
                  <a:lnTo>
                    <a:pt x="1953" y="9394"/>
                  </a:lnTo>
                  <a:lnTo>
                    <a:pt x="1785" y="9360"/>
                  </a:lnTo>
                  <a:lnTo>
                    <a:pt x="1785" y="9327"/>
                  </a:lnTo>
                  <a:lnTo>
                    <a:pt x="1751" y="9293"/>
                  </a:lnTo>
                  <a:lnTo>
                    <a:pt x="1718" y="9091"/>
                  </a:lnTo>
                  <a:lnTo>
                    <a:pt x="1718" y="8923"/>
                  </a:lnTo>
                  <a:lnTo>
                    <a:pt x="1684" y="8586"/>
                  </a:lnTo>
                  <a:lnTo>
                    <a:pt x="1785" y="8586"/>
                  </a:lnTo>
                  <a:lnTo>
                    <a:pt x="1852" y="8552"/>
                  </a:lnTo>
                  <a:lnTo>
                    <a:pt x="1852" y="8485"/>
                  </a:lnTo>
                  <a:lnTo>
                    <a:pt x="1819" y="8451"/>
                  </a:lnTo>
                  <a:lnTo>
                    <a:pt x="1785" y="8418"/>
                  </a:lnTo>
                  <a:lnTo>
                    <a:pt x="1617" y="8451"/>
                  </a:lnTo>
                  <a:lnTo>
                    <a:pt x="1852" y="8317"/>
                  </a:lnTo>
                  <a:lnTo>
                    <a:pt x="2054" y="8216"/>
                  </a:lnTo>
                  <a:lnTo>
                    <a:pt x="2458" y="7946"/>
                  </a:lnTo>
                  <a:lnTo>
                    <a:pt x="3401" y="7441"/>
                  </a:lnTo>
                  <a:close/>
                  <a:moveTo>
                    <a:pt x="4176" y="6970"/>
                  </a:moveTo>
                  <a:lnTo>
                    <a:pt x="4176" y="7845"/>
                  </a:lnTo>
                  <a:lnTo>
                    <a:pt x="4209" y="8721"/>
                  </a:lnTo>
                  <a:lnTo>
                    <a:pt x="4209" y="9394"/>
                  </a:lnTo>
                  <a:lnTo>
                    <a:pt x="4243" y="9731"/>
                  </a:lnTo>
                  <a:lnTo>
                    <a:pt x="4277" y="10067"/>
                  </a:lnTo>
                  <a:lnTo>
                    <a:pt x="4176" y="9966"/>
                  </a:lnTo>
                  <a:lnTo>
                    <a:pt x="4142" y="9798"/>
                  </a:lnTo>
                  <a:lnTo>
                    <a:pt x="4108" y="9630"/>
                  </a:lnTo>
                  <a:lnTo>
                    <a:pt x="4108" y="9428"/>
                  </a:lnTo>
                  <a:lnTo>
                    <a:pt x="4108" y="8721"/>
                  </a:lnTo>
                  <a:lnTo>
                    <a:pt x="4075" y="8014"/>
                  </a:lnTo>
                  <a:lnTo>
                    <a:pt x="4041" y="7307"/>
                  </a:lnTo>
                  <a:lnTo>
                    <a:pt x="4075" y="7307"/>
                  </a:lnTo>
                  <a:lnTo>
                    <a:pt x="4108" y="7273"/>
                  </a:lnTo>
                  <a:lnTo>
                    <a:pt x="4075" y="7239"/>
                  </a:lnTo>
                  <a:lnTo>
                    <a:pt x="4041" y="7172"/>
                  </a:lnTo>
                  <a:lnTo>
                    <a:pt x="4007" y="6970"/>
                  </a:lnTo>
                  <a:close/>
                  <a:moveTo>
                    <a:pt x="3637" y="7307"/>
                  </a:moveTo>
                  <a:lnTo>
                    <a:pt x="3872" y="7340"/>
                  </a:lnTo>
                  <a:lnTo>
                    <a:pt x="3839" y="8014"/>
                  </a:lnTo>
                  <a:lnTo>
                    <a:pt x="3872" y="8721"/>
                  </a:lnTo>
                  <a:lnTo>
                    <a:pt x="3974" y="10135"/>
                  </a:lnTo>
                  <a:lnTo>
                    <a:pt x="3805" y="10168"/>
                  </a:lnTo>
                  <a:lnTo>
                    <a:pt x="3771" y="10168"/>
                  </a:lnTo>
                  <a:lnTo>
                    <a:pt x="3771" y="10101"/>
                  </a:lnTo>
                  <a:lnTo>
                    <a:pt x="3738" y="10067"/>
                  </a:lnTo>
                  <a:lnTo>
                    <a:pt x="3704" y="10034"/>
                  </a:lnTo>
                  <a:lnTo>
                    <a:pt x="3637" y="10034"/>
                  </a:lnTo>
                  <a:lnTo>
                    <a:pt x="3603" y="9360"/>
                  </a:lnTo>
                  <a:lnTo>
                    <a:pt x="3569" y="8687"/>
                  </a:lnTo>
                  <a:lnTo>
                    <a:pt x="3569" y="8014"/>
                  </a:lnTo>
                  <a:lnTo>
                    <a:pt x="3536" y="7374"/>
                  </a:lnTo>
                  <a:lnTo>
                    <a:pt x="3569" y="7340"/>
                  </a:lnTo>
                  <a:lnTo>
                    <a:pt x="3603" y="7307"/>
                  </a:lnTo>
                  <a:close/>
                  <a:moveTo>
                    <a:pt x="17340" y="5556"/>
                  </a:moveTo>
                  <a:lnTo>
                    <a:pt x="17340" y="6532"/>
                  </a:lnTo>
                  <a:lnTo>
                    <a:pt x="17373" y="7475"/>
                  </a:lnTo>
                  <a:lnTo>
                    <a:pt x="17508" y="8418"/>
                  </a:lnTo>
                  <a:lnTo>
                    <a:pt x="17676" y="9360"/>
                  </a:lnTo>
                  <a:lnTo>
                    <a:pt x="16027" y="9596"/>
                  </a:lnTo>
                  <a:lnTo>
                    <a:pt x="14377" y="9764"/>
                  </a:lnTo>
                  <a:lnTo>
                    <a:pt x="12727" y="9899"/>
                  </a:lnTo>
                  <a:lnTo>
                    <a:pt x="11077" y="10000"/>
                  </a:lnTo>
                  <a:lnTo>
                    <a:pt x="7610" y="10236"/>
                  </a:lnTo>
                  <a:lnTo>
                    <a:pt x="6869" y="10236"/>
                  </a:lnTo>
                  <a:lnTo>
                    <a:pt x="6095" y="10269"/>
                  </a:lnTo>
                  <a:lnTo>
                    <a:pt x="5320" y="10303"/>
                  </a:lnTo>
                  <a:lnTo>
                    <a:pt x="4916" y="10370"/>
                  </a:lnTo>
                  <a:lnTo>
                    <a:pt x="4546" y="10438"/>
                  </a:lnTo>
                  <a:lnTo>
                    <a:pt x="4546" y="10404"/>
                  </a:lnTo>
                  <a:lnTo>
                    <a:pt x="4546" y="10303"/>
                  </a:lnTo>
                  <a:lnTo>
                    <a:pt x="4580" y="10236"/>
                  </a:lnTo>
                  <a:lnTo>
                    <a:pt x="4546" y="10168"/>
                  </a:lnTo>
                  <a:lnTo>
                    <a:pt x="4479" y="9360"/>
                  </a:lnTo>
                  <a:lnTo>
                    <a:pt x="4445" y="8552"/>
                  </a:lnTo>
                  <a:lnTo>
                    <a:pt x="4411" y="7744"/>
                  </a:lnTo>
                  <a:lnTo>
                    <a:pt x="4344" y="6936"/>
                  </a:lnTo>
                  <a:lnTo>
                    <a:pt x="4378" y="6936"/>
                  </a:lnTo>
                  <a:lnTo>
                    <a:pt x="4411" y="6903"/>
                  </a:lnTo>
                  <a:lnTo>
                    <a:pt x="4411" y="6869"/>
                  </a:lnTo>
                  <a:lnTo>
                    <a:pt x="4411" y="6802"/>
                  </a:lnTo>
                  <a:lnTo>
                    <a:pt x="5152" y="6734"/>
                  </a:lnTo>
                  <a:lnTo>
                    <a:pt x="5859" y="6667"/>
                  </a:lnTo>
                  <a:lnTo>
                    <a:pt x="7307" y="6465"/>
                  </a:lnTo>
                  <a:lnTo>
                    <a:pt x="9024" y="6229"/>
                  </a:lnTo>
                  <a:lnTo>
                    <a:pt x="10741" y="6061"/>
                  </a:lnTo>
                  <a:lnTo>
                    <a:pt x="12391" y="5893"/>
                  </a:lnTo>
                  <a:lnTo>
                    <a:pt x="14040" y="5758"/>
                  </a:lnTo>
                  <a:lnTo>
                    <a:pt x="15690" y="5657"/>
                  </a:lnTo>
                  <a:lnTo>
                    <a:pt x="17340" y="5556"/>
                  </a:lnTo>
                  <a:close/>
                  <a:moveTo>
                    <a:pt x="10606" y="1"/>
                  </a:moveTo>
                  <a:lnTo>
                    <a:pt x="10471" y="674"/>
                  </a:lnTo>
                  <a:lnTo>
                    <a:pt x="10370" y="1347"/>
                  </a:lnTo>
                  <a:lnTo>
                    <a:pt x="10202" y="2661"/>
                  </a:lnTo>
                  <a:lnTo>
                    <a:pt x="10067" y="3671"/>
                  </a:lnTo>
                  <a:lnTo>
                    <a:pt x="9933" y="4647"/>
                  </a:lnTo>
                  <a:lnTo>
                    <a:pt x="9798" y="5287"/>
                  </a:lnTo>
                  <a:lnTo>
                    <a:pt x="9731" y="5623"/>
                  </a:lnTo>
                  <a:lnTo>
                    <a:pt x="9697" y="5960"/>
                  </a:lnTo>
                  <a:lnTo>
                    <a:pt x="8350" y="6095"/>
                  </a:lnTo>
                  <a:lnTo>
                    <a:pt x="7004" y="6229"/>
                  </a:lnTo>
                  <a:lnTo>
                    <a:pt x="5657" y="6431"/>
                  </a:lnTo>
                  <a:lnTo>
                    <a:pt x="4984" y="6566"/>
                  </a:lnTo>
                  <a:lnTo>
                    <a:pt x="4344" y="6701"/>
                  </a:lnTo>
                  <a:lnTo>
                    <a:pt x="4310" y="6667"/>
                  </a:lnTo>
                  <a:lnTo>
                    <a:pt x="4310" y="6633"/>
                  </a:lnTo>
                  <a:lnTo>
                    <a:pt x="4243" y="6600"/>
                  </a:lnTo>
                  <a:lnTo>
                    <a:pt x="4209" y="6633"/>
                  </a:lnTo>
                  <a:lnTo>
                    <a:pt x="4209" y="6667"/>
                  </a:lnTo>
                  <a:lnTo>
                    <a:pt x="4209" y="6734"/>
                  </a:lnTo>
                  <a:lnTo>
                    <a:pt x="4142" y="6734"/>
                  </a:lnTo>
                  <a:lnTo>
                    <a:pt x="4108" y="6768"/>
                  </a:lnTo>
                  <a:lnTo>
                    <a:pt x="4108" y="6802"/>
                  </a:lnTo>
                  <a:lnTo>
                    <a:pt x="4007" y="6835"/>
                  </a:lnTo>
                  <a:lnTo>
                    <a:pt x="3940" y="6903"/>
                  </a:lnTo>
                  <a:lnTo>
                    <a:pt x="3906" y="6936"/>
                  </a:lnTo>
                  <a:lnTo>
                    <a:pt x="3940" y="6970"/>
                  </a:lnTo>
                  <a:lnTo>
                    <a:pt x="3906" y="7138"/>
                  </a:lnTo>
                  <a:lnTo>
                    <a:pt x="3502" y="7138"/>
                  </a:lnTo>
                  <a:lnTo>
                    <a:pt x="3435" y="7172"/>
                  </a:lnTo>
                  <a:lnTo>
                    <a:pt x="3435" y="7206"/>
                  </a:lnTo>
                  <a:lnTo>
                    <a:pt x="2357" y="7778"/>
                  </a:lnTo>
                  <a:lnTo>
                    <a:pt x="1920" y="8047"/>
                  </a:lnTo>
                  <a:lnTo>
                    <a:pt x="1718" y="8216"/>
                  </a:lnTo>
                  <a:lnTo>
                    <a:pt x="1549" y="8418"/>
                  </a:lnTo>
                  <a:lnTo>
                    <a:pt x="1482" y="8451"/>
                  </a:lnTo>
                  <a:lnTo>
                    <a:pt x="1280" y="8485"/>
                  </a:lnTo>
                  <a:lnTo>
                    <a:pt x="1078" y="8485"/>
                  </a:lnTo>
                  <a:lnTo>
                    <a:pt x="977" y="8519"/>
                  </a:lnTo>
                  <a:lnTo>
                    <a:pt x="876" y="8552"/>
                  </a:lnTo>
                  <a:lnTo>
                    <a:pt x="842" y="8519"/>
                  </a:lnTo>
                  <a:lnTo>
                    <a:pt x="809" y="8519"/>
                  </a:lnTo>
                  <a:lnTo>
                    <a:pt x="809" y="8721"/>
                  </a:lnTo>
                  <a:lnTo>
                    <a:pt x="472" y="8721"/>
                  </a:lnTo>
                  <a:lnTo>
                    <a:pt x="270" y="8687"/>
                  </a:lnTo>
                  <a:lnTo>
                    <a:pt x="68" y="8721"/>
                  </a:lnTo>
                  <a:lnTo>
                    <a:pt x="68" y="8687"/>
                  </a:lnTo>
                  <a:lnTo>
                    <a:pt x="34" y="8721"/>
                  </a:lnTo>
                  <a:lnTo>
                    <a:pt x="1" y="8721"/>
                  </a:lnTo>
                  <a:lnTo>
                    <a:pt x="1" y="8754"/>
                  </a:lnTo>
                  <a:lnTo>
                    <a:pt x="34" y="8788"/>
                  </a:lnTo>
                  <a:lnTo>
                    <a:pt x="68" y="8956"/>
                  </a:lnTo>
                  <a:lnTo>
                    <a:pt x="135" y="9158"/>
                  </a:lnTo>
                  <a:lnTo>
                    <a:pt x="304" y="9495"/>
                  </a:lnTo>
                  <a:lnTo>
                    <a:pt x="371" y="9529"/>
                  </a:lnTo>
                  <a:lnTo>
                    <a:pt x="405" y="9529"/>
                  </a:lnTo>
                  <a:lnTo>
                    <a:pt x="640" y="9461"/>
                  </a:lnTo>
                  <a:lnTo>
                    <a:pt x="876" y="9394"/>
                  </a:lnTo>
                  <a:lnTo>
                    <a:pt x="910" y="9428"/>
                  </a:lnTo>
                  <a:lnTo>
                    <a:pt x="876" y="9461"/>
                  </a:lnTo>
                  <a:lnTo>
                    <a:pt x="943" y="9529"/>
                  </a:lnTo>
                  <a:lnTo>
                    <a:pt x="1011" y="9562"/>
                  </a:lnTo>
                  <a:lnTo>
                    <a:pt x="1246" y="9596"/>
                  </a:lnTo>
                  <a:lnTo>
                    <a:pt x="1448" y="9562"/>
                  </a:lnTo>
                  <a:lnTo>
                    <a:pt x="1650" y="9495"/>
                  </a:lnTo>
                  <a:lnTo>
                    <a:pt x="1718" y="9495"/>
                  </a:lnTo>
                  <a:lnTo>
                    <a:pt x="2122" y="9731"/>
                  </a:lnTo>
                  <a:lnTo>
                    <a:pt x="2559" y="9933"/>
                  </a:lnTo>
                  <a:lnTo>
                    <a:pt x="2997" y="10101"/>
                  </a:lnTo>
                  <a:lnTo>
                    <a:pt x="3435" y="10202"/>
                  </a:lnTo>
                  <a:lnTo>
                    <a:pt x="3468" y="10370"/>
                  </a:lnTo>
                  <a:lnTo>
                    <a:pt x="3502" y="10438"/>
                  </a:lnTo>
                  <a:lnTo>
                    <a:pt x="3603" y="10438"/>
                  </a:lnTo>
                  <a:lnTo>
                    <a:pt x="3637" y="10370"/>
                  </a:lnTo>
                  <a:lnTo>
                    <a:pt x="3738" y="10404"/>
                  </a:lnTo>
                  <a:lnTo>
                    <a:pt x="3872" y="10404"/>
                  </a:lnTo>
                  <a:lnTo>
                    <a:pt x="4075" y="10370"/>
                  </a:lnTo>
                  <a:lnTo>
                    <a:pt x="4310" y="10337"/>
                  </a:lnTo>
                  <a:lnTo>
                    <a:pt x="4344" y="10438"/>
                  </a:lnTo>
                  <a:lnTo>
                    <a:pt x="4378" y="10471"/>
                  </a:lnTo>
                  <a:lnTo>
                    <a:pt x="4378" y="10505"/>
                  </a:lnTo>
                  <a:lnTo>
                    <a:pt x="4411" y="10539"/>
                  </a:lnTo>
                  <a:lnTo>
                    <a:pt x="4782" y="10572"/>
                  </a:lnTo>
                  <a:lnTo>
                    <a:pt x="5186" y="10606"/>
                  </a:lnTo>
                  <a:lnTo>
                    <a:pt x="5994" y="10572"/>
                  </a:lnTo>
                  <a:lnTo>
                    <a:pt x="7610" y="10438"/>
                  </a:lnTo>
                  <a:lnTo>
                    <a:pt x="11077" y="10202"/>
                  </a:lnTo>
                  <a:lnTo>
                    <a:pt x="12828" y="10101"/>
                  </a:lnTo>
                  <a:lnTo>
                    <a:pt x="14545" y="9966"/>
                  </a:lnTo>
                  <a:lnTo>
                    <a:pt x="14579" y="9966"/>
                  </a:lnTo>
                  <a:lnTo>
                    <a:pt x="14949" y="10135"/>
                  </a:lnTo>
                  <a:lnTo>
                    <a:pt x="15387" y="10303"/>
                  </a:lnTo>
                  <a:lnTo>
                    <a:pt x="15791" y="10438"/>
                  </a:lnTo>
                  <a:lnTo>
                    <a:pt x="16229" y="10539"/>
                  </a:lnTo>
                  <a:lnTo>
                    <a:pt x="17104" y="10707"/>
                  </a:lnTo>
                  <a:lnTo>
                    <a:pt x="18013" y="10808"/>
                  </a:lnTo>
                  <a:lnTo>
                    <a:pt x="18922" y="10876"/>
                  </a:lnTo>
                  <a:lnTo>
                    <a:pt x="19831" y="10943"/>
                  </a:lnTo>
                  <a:lnTo>
                    <a:pt x="20707" y="11010"/>
                  </a:lnTo>
                  <a:lnTo>
                    <a:pt x="21582" y="11078"/>
                  </a:lnTo>
                  <a:lnTo>
                    <a:pt x="22626" y="11212"/>
                  </a:lnTo>
                  <a:lnTo>
                    <a:pt x="23636" y="11347"/>
                  </a:lnTo>
                  <a:lnTo>
                    <a:pt x="25689" y="11684"/>
                  </a:lnTo>
                  <a:lnTo>
                    <a:pt x="27743" y="12054"/>
                  </a:lnTo>
                  <a:lnTo>
                    <a:pt x="29797" y="12391"/>
                  </a:lnTo>
                  <a:lnTo>
                    <a:pt x="29427" y="14882"/>
                  </a:lnTo>
                  <a:lnTo>
                    <a:pt x="29460" y="14949"/>
                  </a:lnTo>
                  <a:lnTo>
                    <a:pt x="29460" y="14983"/>
                  </a:lnTo>
                  <a:lnTo>
                    <a:pt x="29528" y="15017"/>
                  </a:lnTo>
                  <a:lnTo>
                    <a:pt x="29629" y="14983"/>
                  </a:lnTo>
                  <a:lnTo>
                    <a:pt x="29629" y="14949"/>
                  </a:lnTo>
                  <a:lnTo>
                    <a:pt x="29662" y="14916"/>
                  </a:lnTo>
                  <a:lnTo>
                    <a:pt x="29797" y="14815"/>
                  </a:lnTo>
                  <a:lnTo>
                    <a:pt x="29932" y="14680"/>
                  </a:lnTo>
                  <a:lnTo>
                    <a:pt x="30066" y="14545"/>
                  </a:lnTo>
                  <a:lnTo>
                    <a:pt x="30201" y="14444"/>
                  </a:lnTo>
                  <a:lnTo>
                    <a:pt x="30268" y="14613"/>
                  </a:lnTo>
                  <a:lnTo>
                    <a:pt x="30369" y="14747"/>
                  </a:lnTo>
                  <a:lnTo>
                    <a:pt x="30470" y="14882"/>
                  </a:lnTo>
                  <a:lnTo>
                    <a:pt x="30605" y="15017"/>
                  </a:lnTo>
                  <a:lnTo>
                    <a:pt x="30571" y="15151"/>
                  </a:lnTo>
                  <a:lnTo>
                    <a:pt x="30571" y="15219"/>
                  </a:lnTo>
                  <a:lnTo>
                    <a:pt x="30605" y="15252"/>
                  </a:lnTo>
                  <a:lnTo>
                    <a:pt x="30740" y="15252"/>
                  </a:lnTo>
                  <a:lnTo>
                    <a:pt x="30773" y="15219"/>
                  </a:lnTo>
                  <a:lnTo>
                    <a:pt x="30807" y="15151"/>
                  </a:lnTo>
                  <a:lnTo>
                    <a:pt x="30807" y="14949"/>
                  </a:lnTo>
                  <a:lnTo>
                    <a:pt x="31076" y="12492"/>
                  </a:lnTo>
                  <a:lnTo>
                    <a:pt x="31682" y="12593"/>
                  </a:lnTo>
                  <a:lnTo>
                    <a:pt x="32288" y="12694"/>
                  </a:lnTo>
                  <a:lnTo>
                    <a:pt x="33467" y="12795"/>
                  </a:lnTo>
                  <a:lnTo>
                    <a:pt x="34241" y="12896"/>
                  </a:lnTo>
                  <a:lnTo>
                    <a:pt x="34611" y="12963"/>
                  </a:lnTo>
                  <a:lnTo>
                    <a:pt x="34982" y="13064"/>
                  </a:lnTo>
                  <a:lnTo>
                    <a:pt x="35251" y="13131"/>
                  </a:lnTo>
                  <a:lnTo>
                    <a:pt x="35520" y="13165"/>
                  </a:lnTo>
                  <a:lnTo>
                    <a:pt x="35756" y="13199"/>
                  </a:lnTo>
                  <a:lnTo>
                    <a:pt x="36025" y="13165"/>
                  </a:lnTo>
                  <a:lnTo>
                    <a:pt x="36665" y="13165"/>
                  </a:lnTo>
                  <a:lnTo>
                    <a:pt x="36968" y="13232"/>
                  </a:lnTo>
                  <a:lnTo>
                    <a:pt x="37238" y="13300"/>
                  </a:lnTo>
                  <a:lnTo>
                    <a:pt x="37844" y="13434"/>
                  </a:lnTo>
                  <a:lnTo>
                    <a:pt x="38147" y="13502"/>
                  </a:lnTo>
                  <a:lnTo>
                    <a:pt x="38450" y="13502"/>
                  </a:lnTo>
                  <a:lnTo>
                    <a:pt x="39190" y="13569"/>
                  </a:lnTo>
                  <a:lnTo>
                    <a:pt x="39965" y="13670"/>
                  </a:lnTo>
                  <a:lnTo>
                    <a:pt x="41446" y="13872"/>
                  </a:lnTo>
                  <a:lnTo>
                    <a:pt x="44274" y="14377"/>
                  </a:lnTo>
                  <a:lnTo>
                    <a:pt x="45520" y="14646"/>
                  </a:lnTo>
                  <a:lnTo>
                    <a:pt x="46160" y="14714"/>
                  </a:lnTo>
                  <a:lnTo>
                    <a:pt x="46799" y="14747"/>
                  </a:lnTo>
                  <a:lnTo>
                    <a:pt x="47069" y="14714"/>
                  </a:lnTo>
                  <a:lnTo>
                    <a:pt x="47338" y="14646"/>
                  </a:lnTo>
                  <a:lnTo>
                    <a:pt x="47540" y="14579"/>
                  </a:lnTo>
                  <a:lnTo>
                    <a:pt x="47742" y="14444"/>
                  </a:lnTo>
                  <a:lnTo>
                    <a:pt x="47910" y="14310"/>
                  </a:lnTo>
                  <a:lnTo>
                    <a:pt x="48079" y="14141"/>
                  </a:lnTo>
                  <a:lnTo>
                    <a:pt x="48213" y="13939"/>
                  </a:lnTo>
                  <a:lnTo>
                    <a:pt x="48314" y="13737"/>
                  </a:lnTo>
                  <a:lnTo>
                    <a:pt x="48382" y="13535"/>
                  </a:lnTo>
                  <a:lnTo>
                    <a:pt x="48449" y="13300"/>
                  </a:lnTo>
                  <a:lnTo>
                    <a:pt x="48550" y="12828"/>
                  </a:lnTo>
                  <a:lnTo>
                    <a:pt x="48584" y="12323"/>
                  </a:lnTo>
                  <a:lnTo>
                    <a:pt x="48584" y="11852"/>
                  </a:lnTo>
                  <a:lnTo>
                    <a:pt x="48752" y="11111"/>
                  </a:lnTo>
                  <a:lnTo>
                    <a:pt x="48887" y="10404"/>
                  </a:lnTo>
                  <a:lnTo>
                    <a:pt x="49122" y="8956"/>
                  </a:lnTo>
                  <a:lnTo>
                    <a:pt x="49695" y="5522"/>
                  </a:lnTo>
                  <a:lnTo>
                    <a:pt x="50671" y="1"/>
                  </a:lnTo>
                  <a:lnTo>
                    <a:pt x="50402" y="1"/>
                  </a:lnTo>
                  <a:lnTo>
                    <a:pt x="49425" y="5455"/>
                  </a:lnTo>
                  <a:lnTo>
                    <a:pt x="48853" y="8855"/>
                  </a:lnTo>
                  <a:lnTo>
                    <a:pt x="48651" y="10269"/>
                  </a:lnTo>
                  <a:lnTo>
                    <a:pt x="48550" y="10977"/>
                  </a:lnTo>
                  <a:lnTo>
                    <a:pt x="48483" y="11684"/>
                  </a:lnTo>
                  <a:lnTo>
                    <a:pt x="48415" y="11684"/>
                  </a:lnTo>
                  <a:lnTo>
                    <a:pt x="48382" y="11785"/>
                  </a:lnTo>
                  <a:lnTo>
                    <a:pt x="48382" y="12492"/>
                  </a:lnTo>
                  <a:lnTo>
                    <a:pt x="48348" y="12828"/>
                  </a:lnTo>
                  <a:lnTo>
                    <a:pt x="48281" y="13199"/>
                  </a:lnTo>
                  <a:lnTo>
                    <a:pt x="48180" y="13502"/>
                  </a:lnTo>
                  <a:lnTo>
                    <a:pt x="48011" y="13805"/>
                  </a:lnTo>
                  <a:lnTo>
                    <a:pt x="47776" y="14074"/>
                  </a:lnTo>
                  <a:lnTo>
                    <a:pt x="47641" y="14209"/>
                  </a:lnTo>
                  <a:lnTo>
                    <a:pt x="47473" y="14310"/>
                  </a:lnTo>
                  <a:lnTo>
                    <a:pt x="47338" y="14377"/>
                  </a:lnTo>
                  <a:lnTo>
                    <a:pt x="47203" y="14444"/>
                  </a:lnTo>
                  <a:lnTo>
                    <a:pt x="46867" y="14512"/>
                  </a:lnTo>
                  <a:lnTo>
                    <a:pt x="46530" y="14512"/>
                  </a:lnTo>
                  <a:lnTo>
                    <a:pt x="46160" y="14478"/>
                  </a:lnTo>
                  <a:lnTo>
                    <a:pt x="45486" y="14377"/>
                  </a:lnTo>
                  <a:lnTo>
                    <a:pt x="44847" y="14242"/>
                  </a:lnTo>
                  <a:lnTo>
                    <a:pt x="42288" y="13771"/>
                  </a:lnTo>
                  <a:lnTo>
                    <a:pt x="39729" y="13367"/>
                  </a:lnTo>
                  <a:lnTo>
                    <a:pt x="39224" y="13300"/>
                  </a:lnTo>
                  <a:lnTo>
                    <a:pt x="38685" y="13266"/>
                  </a:lnTo>
                  <a:lnTo>
                    <a:pt x="38180" y="13232"/>
                  </a:lnTo>
                  <a:lnTo>
                    <a:pt x="37911" y="13199"/>
                  </a:lnTo>
                  <a:lnTo>
                    <a:pt x="37642" y="13098"/>
                  </a:lnTo>
                  <a:lnTo>
                    <a:pt x="37406" y="13030"/>
                  </a:lnTo>
                  <a:lnTo>
                    <a:pt x="37170" y="12997"/>
                  </a:lnTo>
                  <a:lnTo>
                    <a:pt x="36665" y="12963"/>
                  </a:lnTo>
                  <a:lnTo>
                    <a:pt x="36160" y="12963"/>
                  </a:lnTo>
                  <a:lnTo>
                    <a:pt x="35655" y="12997"/>
                  </a:lnTo>
                  <a:lnTo>
                    <a:pt x="35487" y="12997"/>
                  </a:lnTo>
                  <a:lnTo>
                    <a:pt x="35352" y="12963"/>
                  </a:lnTo>
                  <a:lnTo>
                    <a:pt x="35015" y="12862"/>
                  </a:lnTo>
                  <a:lnTo>
                    <a:pt x="34712" y="12761"/>
                  </a:lnTo>
                  <a:lnTo>
                    <a:pt x="34409" y="12694"/>
                  </a:lnTo>
                  <a:lnTo>
                    <a:pt x="33938" y="12626"/>
                  </a:lnTo>
                  <a:lnTo>
                    <a:pt x="33467" y="12559"/>
                  </a:lnTo>
                  <a:lnTo>
                    <a:pt x="32288" y="12424"/>
                  </a:lnTo>
                  <a:lnTo>
                    <a:pt x="31682" y="12391"/>
                  </a:lnTo>
                  <a:lnTo>
                    <a:pt x="31110" y="12357"/>
                  </a:lnTo>
                  <a:lnTo>
                    <a:pt x="31211" y="11482"/>
                  </a:lnTo>
                  <a:lnTo>
                    <a:pt x="31783" y="11650"/>
                  </a:lnTo>
                  <a:lnTo>
                    <a:pt x="32389" y="11785"/>
                  </a:lnTo>
                  <a:lnTo>
                    <a:pt x="33601" y="12020"/>
                  </a:lnTo>
                  <a:lnTo>
                    <a:pt x="36025" y="12424"/>
                  </a:lnTo>
                  <a:lnTo>
                    <a:pt x="38483" y="12828"/>
                  </a:lnTo>
                  <a:lnTo>
                    <a:pt x="40941" y="13165"/>
                  </a:lnTo>
                  <a:lnTo>
                    <a:pt x="43533" y="13502"/>
                  </a:lnTo>
                  <a:lnTo>
                    <a:pt x="44644" y="13603"/>
                  </a:lnTo>
                  <a:lnTo>
                    <a:pt x="45217" y="13636"/>
                  </a:lnTo>
                  <a:lnTo>
                    <a:pt x="45486" y="13636"/>
                  </a:lnTo>
                  <a:lnTo>
                    <a:pt x="45789" y="13603"/>
                  </a:lnTo>
                  <a:lnTo>
                    <a:pt x="46193" y="13502"/>
                  </a:lnTo>
                  <a:lnTo>
                    <a:pt x="46530" y="13333"/>
                  </a:lnTo>
                  <a:lnTo>
                    <a:pt x="46833" y="13131"/>
                  </a:lnTo>
                  <a:lnTo>
                    <a:pt x="47069" y="12896"/>
                  </a:lnTo>
                  <a:lnTo>
                    <a:pt x="47271" y="12593"/>
                  </a:lnTo>
                  <a:lnTo>
                    <a:pt x="47405" y="12256"/>
                  </a:lnTo>
                  <a:lnTo>
                    <a:pt x="47473" y="11886"/>
                  </a:lnTo>
                  <a:lnTo>
                    <a:pt x="47506" y="11448"/>
                  </a:lnTo>
                  <a:lnTo>
                    <a:pt x="47473" y="11414"/>
                  </a:lnTo>
                  <a:lnTo>
                    <a:pt x="47708" y="10707"/>
                  </a:lnTo>
                  <a:lnTo>
                    <a:pt x="47843" y="10000"/>
                  </a:lnTo>
                  <a:lnTo>
                    <a:pt x="48112" y="8552"/>
                  </a:lnTo>
                  <a:lnTo>
                    <a:pt x="48382" y="6970"/>
                  </a:lnTo>
                  <a:lnTo>
                    <a:pt x="48617" y="5388"/>
                  </a:lnTo>
                  <a:lnTo>
                    <a:pt x="48954" y="2694"/>
                  </a:lnTo>
                  <a:lnTo>
                    <a:pt x="49257" y="1"/>
                  </a:lnTo>
                  <a:lnTo>
                    <a:pt x="48988" y="1"/>
                  </a:lnTo>
                  <a:lnTo>
                    <a:pt x="48685" y="2795"/>
                  </a:lnTo>
                  <a:lnTo>
                    <a:pt x="48314" y="5590"/>
                  </a:lnTo>
                  <a:lnTo>
                    <a:pt x="48079" y="7172"/>
                  </a:lnTo>
                  <a:lnTo>
                    <a:pt x="47843" y="8721"/>
                  </a:lnTo>
                  <a:lnTo>
                    <a:pt x="47574" y="10034"/>
                  </a:lnTo>
                  <a:lnTo>
                    <a:pt x="47473" y="10707"/>
                  </a:lnTo>
                  <a:lnTo>
                    <a:pt x="47405" y="11381"/>
                  </a:lnTo>
                  <a:lnTo>
                    <a:pt x="47338" y="11381"/>
                  </a:lnTo>
                  <a:lnTo>
                    <a:pt x="47304" y="11448"/>
                  </a:lnTo>
                  <a:lnTo>
                    <a:pt x="47304" y="11785"/>
                  </a:lnTo>
                  <a:lnTo>
                    <a:pt x="47237" y="12088"/>
                  </a:lnTo>
                  <a:lnTo>
                    <a:pt x="47170" y="12357"/>
                  </a:lnTo>
                  <a:lnTo>
                    <a:pt x="47035" y="12593"/>
                  </a:lnTo>
                  <a:lnTo>
                    <a:pt x="46900" y="12828"/>
                  </a:lnTo>
                  <a:lnTo>
                    <a:pt x="46698" y="12997"/>
                  </a:lnTo>
                  <a:lnTo>
                    <a:pt x="46429" y="13165"/>
                  </a:lnTo>
                  <a:lnTo>
                    <a:pt x="46126" y="13300"/>
                  </a:lnTo>
                  <a:lnTo>
                    <a:pt x="45890" y="13367"/>
                  </a:lnTo>
                  <a:lnTo>
                    <a:pt x="45621" y="13434"/>
                  </a:lnTo>
                  <a:lnTo>
                    <a:pt x="45116" y="13434"/>
                  </a:lnTo>
                  <a:lnTo>
                    <a:pt x="44577" y="13401"/>
                  </a:lnTo>
                  <a:lnTo>
                    <a:pt x="44072" y="13333"/>
                  </a:lnTo>
                  <a:lnTo>
                    <a:pt x="41749" y="13064"/>
                  </a:lnTo>
                  <a:lnTo>
                    <a:pt x="39426" y="12761"/>
                  </a:lnTo>
                  <a:lnTo>
                    <a:pt x="37339" y="12458"/>
                  </a:lnTo>
                  <a:lnTo>
                    <a:pt x="35285" y="12121"/>
                  </a:lnTo>
                  <a:lnTo>
                    <a:pt x="34275" y="11919"/>
                  </a:lnTo>
                  <a:lnTo>
                    <a:pt x="33265" y="11717"/>
                  </a:lnTo>
                  <a:lnTo>
                    <a:pt x="32221" y="11515"/>
                  </a:lnTo>
                  <a:lnTo>
                    <a:pt x="31211" y="11347"/>
                  </a:lnTo>
                  <a:lnTo>
                    <a:pt x="31480" y="9192"/>
                  </a:lnTo>
                  <a:lnTo>
                    <a:pt x="31750" y="7037"/>
                  </a:lnTo>
                  <a:lnTo>
                    <a:pt x="32322" y="3132"/>
                  </a:lnTo>
                  <a:lnTo>
                    <a:pt x="32457" y="2357"/>
                  </a:lnTo>
                  <a:lnTo>
                    <a:pt x="32591" y="1583"/>
                  </a:lnTo>
                  <a:lnTo>
                    <a:pt x="32726" y="775"/>
                  </a:lnTo>
                  <a:lnTo>
                    <a:pt x="32827" y="1"/>
                  </a:lnTo>
                  <a:lnTo>
                    <a:pt x="32625" y="1"/>
                  </a:lnTo>
                  <a:lnTo>
                    <a:pt x="32457" y="809"/>
                  </a:lnTo>
                  <a:lnTo>
                    <a:pt x="32322" y="1650"/>
                  </a:lnTo>
                  <a:lnTo>
                    <a:pt x="32086" y="3334"/>
                  </a:lnTo>
                  <a:lnTo>
                    <a:pt x="31783" y="5287"/>
                  </a:lnTo>
                  <a:lnTo>
                    <a:pt x="31514" y="7273"/>
                  </a:lnTo>
                  <a:lnTo>
                    <a:pt x="31043" y="10977"/>
                  </a:lnTo>
                  <a:lnTo>
                    <a:pt x="30639" y="14680"/>
                  </a:lnTo>
                  <a:lnTo>
                    <a:pt x="30504" y="14478"/>
                  </a:lnTo>
                  <a:lnTo>
                    <a:pt x="30403" y="14242"/>
                  </a:lnTo>
                  <a:lnTo>
                    <a:pt x="30336" y="14175"/>
                  </a:lnTo>
                  <a:lnTo>
                    <a:pt x="30235" y="14175"/>
                  </a:lnTo>
                  <a:lnTo>
                    <a:pt x="30134" y="14209"/>
                  </a:lnTo>
                  <a:lnTo>
                    <a:pt x="30033" y="14276"/>
                  </a:lnTo>
                  <a:lnTo>
                    <a:pt x="29831" y="14444"/>
                  </a:lnTo>
                  <a:lnTo>
                    <a:pt x="29696" y="14613"/>
                  </a:lnTo>
                  <a:lnTo>
                    <a:pt x="29999" y="12424"/>
                  </a:lnTo>
                  <a:lnTo>
                    <a:pt x="30066" y="12391"/>
                  </a:lnTo>
                  <a:lnTo>
                    <a:pt x="30066" y="12323"/>
                  </a:lnTo>
                  <a:lnTo>
                    <a:pt x="30066" y="12256"/>
                  </a:lnTo>
                  <a:lnTo>
                    <a:pt x="30033" y="12222"/>
                  </a:lnTo>
                  <a:lnTo>
                    <a:pt x="30740" y="7206"/>
                  </a:lnTo>
                  <a:lnTo>
                    <a:pt x="31009" y="5421"/>
                  </a:lnTo>
                  <a:lnTo>
                    <a:pt x="31312" y="3603"/>
                  </a:lnTo>
                  <a:lnTo>
                    <a:pt x="31581" y="1819"/>
                  </a:lnTo>
                  <a:lnTo>
                    <a:pt x="31682" y="910"/>
                  </a:lnTo>
                  <a:lnTo>
                    <a:pt x="31783" y="1"/>
                  </a:lnTo>
                  <a:lnTo>
                    <a:pt x="31615" y="1"/>
                  </a:lnTo>
                  <a:lnTo>
                    <a:pt x="31413" y="876"/>
                  </a:lnTo>
                  <a:lnTo>
                    <a:pt x="31278" y="1785"/>
                  </a:lnTo>
                  <a:lnTo>
                    <a:pt x="31009" y="3570"/>
                  </a:lnTo>
                  <a:lnTo>
                    <a:pt x="30773" y="5354"/>
                  </a:lnTo>
                  <a:lnTo>
                    <a:pt x="30538" y="7138"/>
                  </a:lnTo>
                  <a:lnTo>
                    <a:pt x="29965" y="11145"/>
                  </a:lnTo>
                  <a:lnTo>
                    <a:pt x="29427" y="11111"/>
                  </a:lnTo>
                  <a:lnTo>
                    <a:pt x="30033" y="5421"/>
                  </a:lnTo>
                  <a:lnTo>
                    <a:pt x="30201" y="4075"/>
                  </a:lnTo>
                  <a:lnTo>
                    <a:pt x="30369" y="2728"/>
                  </a:lnTo>
                  <a:lnTo>
                    <a:pt x="30571" y="1347"/>
                  </a:lnTo>
                  <a:lnTo>
                    <a:pt x="30706" y="1"/>
                  </a:lnTo>
                  <a:lnTo>
                    <a:pt x="30470" y="1"/>
                  </a:lnTo>
                  <a:lnTo>
                    <a:pt x="30268" y="1280"/>
                  </a:lnTo>
                  <a:lnTo>
                    <a:pt x="30100" y="2593"/>
                  </a:lnTo>
                  <a:lnTo>
                    <a:pt x="29965" y="3873"/>
                  </a:lnTo>
                  <a:lnTo>
                    <a:pt x="29831" y="5152"/>
                  </a:lnTo>
                  <a:lnTo>
                    <a:pt x="29494" y="8115"/>
                  </a:lnTo>
                  <a:lnTo>
                    <a:pt x="29157" y="11111"/>
                  </a:lnTo>
                  <a:lnTo>
                    <a:pt x="27709" y="11010"/>
                  </a:lnTo>
                  <a:lnTo>
                    <a:pt x="26228" y="10909"/>
                  </a:lnTo>
                  <a:lnTo>
                    <a:pt x="25487" y="10808"/>
                  </a:lnTo>
                  <a:lnTo>
                    <a:pt x="24780" y="10741"/>
                  </a:lnTo>
                  <a:lnTo>
                    <a:pt x="24040" y="10606"/>
                  </a:lnTo>
                  <a:lnTo>
                    <a:pt x="23333" y="10438"/>
                  </a:lnTo>
                  <a:lnTo>
                    <a:pt x="21750" y="10101"/>
                  </a:lnTo>
                  <a:lnTo>
                    <a:pt x="20942" y="9933"/>
                  </a:lnTo>
                  <a:lnTo>
                    <a:pt x="20134" y="9798"/>
                  </a:lnTo>
                  <a:lnTo>
                    <a:pt x="19562" y="9731"/>
                  </a:lnTo>
                  <a:lnTo>
                    <a:pt x="19259" y="9697"/>
                  </a:lnTo>
                  <a:lnTo>
                    <a:pt x="18989" y="9596"/>
                  </a:lnTo>
                  <a:lnTo>
                    <a:pt x="18754" y="9529"/>
                  </a:lnTo>
                  <a:lnTo>
                    <a:pt x="18518" y="9495"/>
                  </a:lnTo>
                  <a:lnTo>
                    <a:pt x="18282" y="9495"/>
                  </a:lnTo>
                  <a:lnTo>
                    <a:pt x="18047" y="9562"/>
                  </a:lnTo>
                  <a:lnTo>
                    <a:pt x="18013" y="9596"/>
                  </a:lnTo>
                  <a:lnTo>
                    <a:pt x="17979" y="9663"/>
                  </a:lnTo>
                  <a:lnTo>
                    <a:pt x="18013" y="9697"/>
                  </a:lnTo>
                  <a:lnTo>
                    <a:pt x="18417" y="9697"/>
                  </a:lnTo>
                  <a:lnTo>
                    <a:pt x="18754" y="9731"/>
                  </a:lnTo>
                  <a:lnTo>
                    <a:pt x="18922" y="9832"/>
                  </a:lnTo>
                  <a:lnTo>
                    <a:pt x="19023" y="9865"/>
                  </a:lnTo>
                  <a:lnTo>
                    <a:pt x="19124" y="9899"/>
                  </a:lnTo>
                  <a:lnTo>
                    <a:pt x="19966" y="10034"/>
                  </a:lnTo>
                  <a:lnTo>
                    <a:pt x="20841" y="10135"/>
                  </a:lnTo>
                  <a:lnTo>
                    <a:pt x="21616" y="10303"/>
                  </a:lnTo>
                  <a:lnTo>
                    <a:pt x="22424" y="10471"/>
                  </a:lnTo>
                  <a:lnTo>
                    <a:pt x="23972" y="10842"/>
                  </a:lnTo>
                  <a:lnTo>
                    <a:pt x="24612" y="10977"/>
                  </a:lnTo>
                  <a:lnTo>
                    <a:pt x="25252" y="11078"/>
                  </a:lnTo>
                  <a:lnTo>
                    <a:pt x="26531" y="11212"/>
                  </a:lnTo>
                  <a:lnTo>
                    <a:pt x="27844" y="11280"/>
                  </a:lnTo>
                  <a:lnTo>
                    <a:pt x="29124" y="11347"/>
                  </a:lnTo>
                  <a:lnTo>
                    <a:pt x="29124" y="11482"/>
                  </a:lnTo>
                  <a:lnTo>
                    <a:pt x="29124" y="11549"/>
                  </a:lnTo>
                  <a:lnTo>
                    <a:pt x="29157" y="11583"/>
                  </a:lnTo>
                  <a:lnTo>
                    <a:pt x="29225" y="11616"/>
                  </a:lnTo>
                  <a:lnTo>
                    <a:pt x="29326" y="11583"/>
                  </a:lnTo>
                  <a:lnTo>
                    <a:pt x="29359" y="11549"/>
                  </a:lnTo>
                  <a:lnTo>
                    <a:pt x="29359" y="11482"/>
                  </a:lnTo>
                  <a:lnTo>
                    <a:pt x="29393" y="11381"/>
                  </a:lnTo>
                  <a:lnTo>
                    <a:pt x="29932" y="11414"/>
                  </a:lnTo>
                  <a:lnTo>
                    <a:pt x="29797" y="12189"/>
                  </a:lnTo>
                  <a:lnTo>
                    <a:pt x="27945" y="11818"/>
                  </a:lnTo>
                  <a:lnTo>
                    <a:pt x="26093" y="11515"/>
                  </a:lnTo>
                  <a:lnTo>
                    <a:pt x="24242" y="11246"/>
                  </a:lnTo>
                  <a:lnTo>
                    <a:pt x="22356" y="10977"/>
                  </a:lnTo>
                  <a:lnTo>
                    <a:pt x="21414" y="10876"/>
                  </a:lnTo>
                  <a:lnTo>
                    <a:pt x="20471" y="10775"/>
                  </a:lnTo>
                  <a:lnTo>
                    <a:pt x="18585" y="10606"/>
                  </a:lnTo>
                  <a:lnTo>
                    <a:pt x="17643" y="10505"/>
                  </a:lnTo>
                  <a:lnTo>
                    <a:pt x="16734" y="10337"/>
                  </a:lnTo>
                  <a:lnTo>
                    <a:pt x="15825" y="10168"/>
                  </a:lnTo>
                  <a:lnTo>
                    <a:pt x="14916" y="9933"/>
                  </a:lnTo>
                  <a:lnTo>
                    <a:pt x="16330" y="9764"/>
                  </a:lnTo>
                  <a:lnTo>
                    <a:pt x="17744" y="9562"/>
                  </a:lnTo>
                  <a:lnTo>
                    <a:pt x="17777" y="9596"/>
                  </a:lnTo>
                  <a:lnTo>
                    <a:pt x="17845" y="9630"/>
                  </a:lnTo>
                  <a:lnTo>
                    <a:pt x="17912" y="9596"/>
                  </a:lnTo>
                  <a:lnTo>
                    <a:pt x="17946" y="9529"/>
                  </a:lnTo>
                  <a:lnTo>
                    <a:pt x="17979" y="9529"/>
                  </a:lnTo>
                  <a:lnTo>
                    <a:pt x="18013" y="9495"/>
                  </a:lnTo>
                  <a:lnTo>
                    <a:pt x="18047" y="9461"/>
                  </a:lnTo>
                  <a:lnTo>
                    <a:pt x="18282" y="9428"/>
                  </a:lnTo>
                  <a:lnTo>
                    <a:pt x="18552" y="9394"/>
                  </a:lnTo>
                  <a:lnTo>
                    <a:pt x="19023" y="9327"/>
                  </a:lnTo>
                  <a:lnTo>
                    <a:pt x="20505" y="9158"/>
                  </a:lnTo>
                  <a:lnTo>
                    <a:pt x="22289" y="8956"/>
                  </a:lnTo>
                  <a:lnTo>
                    <a:pt x="22323" y="8956"/>
                  </a:lnTo>
                  <a:lnTo>
                    <a:pt x="22356" y="8923"/>
                  </a:lnTo>
                  <a:lnTo>
                    <a:pt x="23030" y="8855"/>
                  </a:lnTo>
                  <a:lnTo>
                    <a:pt x="23097" y="8822"/>
                  </a:lnTo>
                  <a:lnTo>
                    <a:pt x="23097" y="8754"/>
                  </a:lnTo>
                  <a:lnTo>
                    <a:pt x="23097" y="8721"/>
                  </a:lnTo>
                  <a:lnTo>
                    <a:pt x="23063" y="8653"/>
                  </a:lnTo>
                  <a:lnTo>
                    <a:pt x="22962" y="8216"/>
                  </a:lnTo>
                  <a:lnTo>
                    <a:pt x="22895" y="7744"/>
                  </a:lnTo>
                  <a:lnTo>
                    <a:pt x="22828" y="6835"/>
                  </a:lnTo>
                  <a:lnTo>
                    <a:pt x="22794" y="5893"/>
                  </a:lnTo>
                  <a:lnTo>
                    <a:pt x="22760" y="5421"/>
                  </a:lnTo>
                  <a:lnTo>
                    <a:pt x="22659" y="4984"/>
                  </a:lnTo>
                  <a:lnTo>
                    <a:pt x="22659" y="4950"/>
                  </a:lnTo>
                  <a:lnTo>
                    <a:pt x="22626" y="4950"/>
                  </a:lnTo>
                  <a:lnTo>
                    <a:pt x="22592" y="4984"/>
                  </a:lnTo>
                  <a:lnTo>
                    <a:pt x="22592" y="5017"/>
                  </a:lnTo>
                  <a:lnTo>
                    <a:pt x="22558" y="5017"/>
                  </a:lnTo>
                  <a:lnTo>
                    <a:pt x="19764" y="5152"/>
                  </a:lnTo>
                  <a:lnTo>
                    <a:pt x="19191" y="5152"/>
                  </a:lnTo>
                  <a:lnTo>
                    <a:pt x="18653" y="5186"/>
                  </a:lnTo>
                  <a:lnTo>
                    <a:pt x="18080" y="5287"/>
                  </a:lnTo>
                  <a:lnTo>
                    <a:pt x="17811" y="5354"/>
                  </a:lnTo>
                  <a:lnTo>
                    <a:pt x="17542" y="5455"/>
                  </a:lnTo>
                  <a:lnTo>
                    <a:pt x="17542" y="5421"/>
                  </a:lnTo>
                  <a:lnTo>
                    <a:pt x="17508" y="5388"/>
                  </a:lnTo>
                  <a:lnTo>
                    <a:pt x="17474" y="5388"/>
                  </a:lnTo>
                  <a:lnTo>
                    <a:pt x="17441" y="5354"/>
                  </a:lnTo>
                  <a:lnTo>
                    <a:pt x="17373" y="5354"/>
                  </a:lnTo>
                  <a:lnTo>
                    <a:pt x="14040" y="5556"/>
                  </a:lnTo>
                  <a:lnTo>
                    <a:pt x="12391" y="5691"/>
                  </a:lnTo>
                  <a:lnTo>
                    <a:pt x="10741" y="5859"/>
                  </a:lnTo>
                  <a:lnTo>
                    <a:pt x="9865" y="5926"/>
                  </a:lnTo>
                  <a:lnTo>
                    <a:pt x="10000" y="5657"/>
                  </a:lnTo>
                  <a:lnTo>
                    <a:pt x="10067" y="5320"/>
                  </a:lnTo>
                  <a:lnTo>
                    <a:pt x="10168" y="4714"/>
                  </a:lnTo>
                  <a:lnTo>
                    <a:pt x="10303" y="3940"/>
                  </a:lnTo>
                  <a:lnTo>
                    <a:pt x="10404" y="3166"/>
                  </a:lnTo>
                  <a:lnTo>
                    <a:pt x="10505" y="2391"/>
                  </a:lnTo>
                  <a:lnTo>
                    <a:pt x="10640" y="1583"/>
                  </a:lnTo>
                  <a:lnTo>
                    <a:pt x="10774" y="809"/>
                  </a:lnTo>
                  <a:lnTo>
                    <a:pt x="1090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5" name="Google Shape;705;p5"/>
            <p:cNvSpPr/>
            <p:nvPr/>
          </p:nvSpPr>
          <p:spPr>
            <a:xfrm>
              <a:off x="6092495" y="162713"/>
              <a:ext cx="117432" cy="18484"/>
            </a:xfrm>
            <a:custGeom>
              <a:avLst/>
              <a:gdLst/>
              <a:ahLst/>
              <a:cxnLst/>
              <a:rect l="l" t="t" r="r" b="b"/>
              <a:pathLst>
                <a:path w="2357" h="371" extrusionOk="0">
                  <a:moveTo>
                    <a:pt x="1448" y="1"/>
                  </a:moveTo>
                  <a:lnTo>
                    <a:pt x="741" y="34"/>
                  </a:lnTo>
                  <a:lnTo>
                    <a:pt x="370" y="68"/>
                  </a:lnTo>
                  <a:lnTo>
                    <a:pt x="34" y="135"/>
                  </a:lnTo>
                  <a:lnTo>
                    <a:pt x="0" y="169"/>
                  </a:lnTo>
                  <a:lnTo>
                    <a:pt x="34" y="169"/>
                  </a:lnTo>
                  <a:lnTo>
                    <a:pt x="303" y="203"/>
                  </a:lnTo>
                  <a:lnTo>
                    <a:pt x="606" y="203"/>
                  </a:lnTo>
                  <a:lnTo>
                    <a:pt x="1178" y="169"/>
                  </a:lnTo>
                  <a:lnTo>
                    <a:pt x="1448" y="169"/>
                  </a:lnTo>
                  <a:lnTo>
                    <a:pt x="1717" y="203"/>
                  </a:lnTo>
                  <a:lnTo>
                    <a:pt x="1986" y="236"/>
                  </a:lnTo>
                  <a:lnTo>
                    <a:pt x="2256" y="371"/>
                  </a:lnTo>
                  <a:lnTo>
                    <a:pt x="2323" y="371"/>
                  </a:lnTo>
                  <a:lnTo>
                    <a:pt x="2357" y="337"/>
                  </a:lnTo>
                  <a:lnTo>
                    <a:pt x="2357" y="304"/>
                  </a:lnTo>
                  <a:lnTo>
                    <a:pt x="2357" y="236"/>
                  </a:lnTo>
                  <a:lnTo>
                    <a:pt x="2256" y="169"/>
                  </a:lnTo>
                  <a:lnTo>
                    <a:pt x="2155" y="102"/>
                  </a:lnTo>
                  <a:lnTo>
                    <a:pt x="1919" y="34"/>
                  </a:lnTo>
                  <a:lnTo>
                    <a:pt x="168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6" name="Google Shape;706;p5"/>
            <p:cNvSpPr/>
            <p:nvPr/>
          </p:nvSpPr>
          <p:spPr>
            <a:xfrm>
              <a:off x="5788876" y="362352"/>
              <a:ext cx="213041" cy="72143"/>
            </a:xfrm>
            <a:custGeom>
              <a:avLst/>
              <a:gdLst/>
              <a:ahLst/>
              <a:cxnLst/>
              <a:rect l="l" t="t" r="r" b="b"/>
              <a:pathLst>
                <a:path w="4276" h="1448" extrusionOk="0">
                  <a:moveTo>
                    <a:pt x="4108" y="0"/>
                  </a:moveTo>
                  <a:lnTo>
                    <a:pt x="3872" y="67"/>
                  </a:lnTo>
                  <a:lnTo>
                    <a:pt x="3502" y="168"/>
                  </a:lnTo>
                  <a:lnTo>
                    <a:pt x="3131" y="303"/>
                  </a:lnTo>
                  <a:lnTo>
                    <a:pt x="2424" y="539"/>
                  </a:lnTo>
                  <a:lnTo>
                    <a:pt x="1212" y="943"/>
                  </a:lnTo>
                  <a:lnTo>
                    <a:pt x="606" y="1145"/>
                  </a:lnTo>
                  <a:lnTo>
                    <a:pt x="34" y="1380"/>
                  </a:lnTo>
                  <a:lnTo>
                    <a:pt x="0" y="1414"/>
                  </a:lnTo>
                  <a:lnTo>
                    <a:pt x="0" y="1448"/>
                  </a:lnTo>
                  <a:lnTo>
                    <a:pt x="34" y="1448"/>
                  </a:lnTo>
                  <a:lnTo>
                    <a:pt x="606" y="1347"/>
                  </a:lnTo>
                  <a:lnTo>
                    <a:pt x="1145" y="1178"/>
                  </a:lnTo>
                  <a:lnTo>
                    <a:pt x="2222" y="842"/>
                  </a:lnTo>
                  <a:lnTo>
                    <a:pt x="3266" y="539"/>
                  </a:lnTo>
                  <a:lnTo>
                    <a:pt x="3805" y="337"/>
                  </a:lnTo>
                  <a:lnTo>
                    <a:pt x="4040" y="236"/>
                  </a:lnTo>
                  <a:lnTo>
                    <a:pt x="4242" y="101"/>
                  </a:lnTo>
                  <a:lnTo>
                    <a:pt x="4276" y="67"/>
                  </a:lnTo>
                  <a:lnTo>
                    <a:pt x="4242" y="34"/>
                  </a:lnTo>
                  <a:lnTo>
                    <a:pt x="417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7" name="Google Shape;707;p5"/>
            <p:cNvSpPr/>
            <p:nvPr/>
          </p:nvSpPr>
          <p:spPr>
            <a:xfrm>
              <a:off x="5788876" y="432801"/>
              <a:ext cx="145980" cy="50371"/>
            </a:xfrm>
            <a:custGeom>
              <a:avLst/>
              <a:gdLst/>
              <a:ahLst/>
              <a:cxnLst/>
              <a:rect l="l" t="t" r="r" b="b"/>
              <a:pathLst>
                <a:path w="2930" h="1011" extrusionOk="0">
                  <a:moveTo>
                    <a:pt x="2862" y="0"/>
                  </a:moveTo>
                  <a:lnTo>
                    <a:pt x="2492" y="67"/>
                  </a:lnTo>
                  <a:lnTo>
                    <a:pt x="2121" y="168"/>
                  </a:lnTo>
                  <a:lnTo>
                    <a:pt x="1414" y="404"/>
                  </a:lnTo>
                  <a:lnTo>
                    <a:pt x="707" y="640"/>
                  </a:lnTo>
                  <a:lnTo>
                    <a:pt x="337" y="774"/>
                  </a:lnTo>
                  <a:lnTo>
                    <a:pt x="34" y="976"/>
                  </a:lnTo>
                  <a:lnTo>
                    <a:pt x="0" y="1010"/>
                  </a:lnTo>
                  <a:lnTo>
                    <a:pt x="34" y="1010"/>
                  </a:lnTo>
                  <a:lnTo>
                    <a:pt x="404" y="943"/>
                  </a:lnTo>
                  <a:lnTo>
                    <a:pt x="774" y="842"/>
                  </a:lnTo>
                  <a:lnTo>
                    <a:pt x="1448" y="572"/>
                  </a:lnTo>
                  <a:lnTo>
                    <a:pt x="2189" y="370"/>
                  </a:lnTo>
                  <a:lnTo>
                    <a:pt x="2559" y="269"/>
                  </a:lnTo>
                  <a:lnTo>
                    <a:pt x="2896" y="135"/>
                  </a:lnTo>
                  <a:lnTo>
                    <a:pt x="2896" y="101"/>
                  </a:lnTo>
                  <a:lnTo>
                    <a:pt x="2929" y="67"/>
                  </a:lnTo>
                  <a:lnTo>
                    <a:pt x="2896" y="34"/>
                  </a:lnTo>
                  <a:lnTo>
                    <a:pt x="286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8" name="Google Shape;708;p5"/>
            <p:cNvSpPr/>
            <p:nvPr/>
          </p:nvSpPr>
          <p:spPr>
            <a:xfrm>
              <a:off x="5778812" y="337191"/>
              <a:ext cx="186237" cy="43645"/>
            </a:xfrm>
            <a:custGeom>
              <a:avLst/>
              <a:gdLst/>
              <a:ahLst/>
              <a:cxnLst/>
              <a:rect l="l" t="t" r="r" b="b"/>
              <a:pathLst>
                <a:path w="3738" h="876" extrusionOk="0">
                  <a:moveTo>
                    <a:pt x="3266" y="0"/>
                  </a:moveTo>
                  <a:lnTo>
                    <a:pt x="3098" y="34"/>
                  </a:lnTo>
                  <a:lnTo>
                    <a:pt x="2795" y="168"/>
                  </a:lnTo>
                  <a:lnTo>
                    <a:pt x="2492" y="269"/>
                  </a:lnTo>
                  <a:lnTo>
                    <a:pt x="1886" y="471"/>
                  </a:lnTo>
                  <a:lnTo>
                    <a:pt x="1280" y="572"/>
                  </a:lnTo>
                  <a:lnTo>
                    <a:pt x="34" y="741"/>
                  </a:lnTo>
                  <a:lnTo>
                    <a:pt x="0" y="774"/>
                  </a:lnTo>
                  <a:lnTo>
                    <a:pt x="34" y="808"/>
                  </a:lnTo>
                  <a:lnTo>
                    <a:pt x="269" y="842"/>
                  </a:lnTo>
                  <a:lnTo>
                    <a:pt x="505" y="875"/>
                  </a:lnTo>
                  <a:lnTo>
                    <a:pt x="976" y="875"/>
                  </a:lnTo>
                  <a:lnTo>
                    <a:pt x="1414" y="774"/>
                  </a:lnTo>
                  <a:lnTo>
                    <a:pt x="1886" y="640"/>
                  </a:lnTo>
                  <a:lnTo>
                    <a:pt x="2761" y="337"/>
                  </a:lnTo>
                  <a:lnTo>
                    <a:pt x="3232" y="236"/>
                  </a:lnTo>
                  <a:lnTo>
                    <a:pt x="3704" y="202"/>
                  </a:lnTo>
                  <a:lnTo>
                    <a:pt x="3737" y="168"/>
                  </a:lnTo>
                  <a:lnTo>
                    <a:pt x="3737" y="135"/>
                  </a:lnTo>
                  <a:lnTo>
                    <a:pt x="3704" y="101"/>
                  </a:lnTo>
                  <a:lnTo>
                    <a:pt x="3569" y="34"/>
                  </a:lnTo>
                  <a:lnTo>
                    <a:pt x="340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09" name="Google Shape;709;p5"/>
            <p:cNvSpPr/>
            <p:nvPr/>
          </p:nvSpPr>
          <p:spPr>
            <a:xfrm>
              <a:off x="4567677" y="-7"/>
              <a:ext cx="53758" cy="290266"/>
            </a:xfrm>
            <a:custGeom>
              <a:avLst/>
              <a:gdLst/>
              <a:ahLst/>
              <a:cxnLst/>
              <a:rect l="l" t="t" r="r" b="b"/>
              <a:pathLst>
                <a:path w="1079" h="5826" extrusionOk="0">
                  <a:moveTo>
                    <a:pt x="842" y="1"/>
                  </a:moveTo>
                  <a:lnTo>
                    <a:pt x="405" y="2896"/>
                  </a:lnTo>
                  <a:lnTo>
                    <a:pt x="135" y="4479"/>
                  </a:lnTo>
                  <a:lnTo>
                    <a:pt x="34" y="5152"/>
                  </a:lnTo>
                  <a:lnTo>
                    <a:pt x="1" y="5489"/>
                  </a:lnTo>
                  <a:lnTo>
                    <a:pt x="34" y="5792"/>
                  </a:lnTo>
                  <a:lnTo>
                    <a:pt x="68" y="5825"/>
                  </a:lnTo>
                  <a:lnTo>
                    <a:pt x="203" y="5522"/>
                  </a:lnTo>
                  <a:lnTo>
                    <a:pt x="270" y="5186"/>
                  </a:lnTo>
                  <a:lnTo>
                    <a:pt x="371" y="4546"/>
                  </a:lnTo>
                  <a:lnTo>
                    <a:pt x="640" y="2964"/>
                  </a:lnTo>
                  <a:lnTo>
                    <a:pt x="107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10" name="Google Shape;710;p5"/>
          <p:cNvGrpSpPr/>
          <p:nvPr/>
        </p:nvGrpSpPr>
        <p:grpSpPr>
          <a:xfrm>
            <a:off x="11341825" y="2085455"/>
            <a:ext cx="849905" cy="1507496"/>
            <a:chOff x="6233393" y="2021291"/>
            <a:chExt cx="637429" cy="1130622"/>
          </a:xfrm>
        </p:grpSpPr>
        <p:sp>
          <p:nvSpPr>
            <p:cNvPr id="711" name="Google Shape;711;p5"/>
            <p:cNvSpPr/>
            <p:nvPr/>
          </p:nvSpPr>
          <p:spPr>
            <a:xfrm>
              <a:off x="6280325" y="2131997"/>
              <a:ext cx="590496" cy="900841"/>
            </a:xfrm>
            <a:custGeom>
              <a:avLst/>
              <a:gdLst/>
              <a:ahLst/>
              <a:cxnLst/>
              <a:rect l="l" t="t" r="r" b="b"/>
              <a:pathLst>
                <a:path w="11852" h="18081" extrusionOk="0">
                  <a:moveTo>
                    <a:pt x="8721" y="1"/>
                  </a:moveTo>
                  <a:lnTo>
                    <a:pt x="6431" y="506"/>
                  </a:lnTo>
                  <a:lnTo>
                    <a:pt x="4142" y="1045"/>
                  </a:lnTo>
                  <a:lnTo>
                    <a:pt x="1886" y="1651"/>
                  </a:lnTo>
                  <a:lnTo>
                    <a:pt x="977" y="1886"/>
                  </a:lnTo>
                  <a:lnTo>
                    <a:pt x="742" y="1954"/>
                  </a:lnTo>
                  <a:lnTo>
                    <a:pt x="540" y="2055"/>
                  </a:lnTo>
                  <a:lnTo>
                    <a:pt x="338" y="2156"/>
                  </a:lnTo>
                  <a:lnTo>
                    <a:pt x="169" y="2290"/>
                  </a:lnTo>
                  <a:lnTo>
                    <a:pt x="169" y="2324"/>
                  </a:lnTo>
                  <a:lnTo>
                    <a:pt x="136" y="2257"/>
                  </a:lnTo>
                  <a:lnTo>
                    <a:pt x="68" y="2223"/>
                  </a:lnTo>
                  <a:lnTo>
                    <a:pt x="1" y="2223"/>
                  </a:lnTo>
                  <a:lnTo>
                    <a:pt x="1" y="2290"/>
                  </a:lnTo>
                  <a:lnTo>
                    <a:pt x="35" y="2762"/>
                  </a:lnTo>
                  <a:lnTo>
                    <a:pt x="136" y="3233"/>
                  </a:lnTo>
                  <a:lnTo>
                    <a:pt x="371" y="4176"/>
                  </a:lnTo>
                  <a:lnTo>
                    <a:pt x="641" y="5118"/>
                  </a:lnTo>
                  <a:lnTo>
                    <a:pt x="876" y="6061"/>
                  </a:lnTo>
                  <a:lnTo>
                    <a:pt x="1785" y="10068"/>
                  </a:lnTo>
                  <a:lnTo>
                    <a:pt x="2223" y="12054"/>
                  </a:lnTo>
                  <a:lnTo>
                    <a:pt x="2728" y="14040"/>
                  </a:lnTo>
                  <a:lnTo>
                    <a:pt x="3267" y="16027"/>
                  </a:lnTo>
                  <a:lnTo>
                    <a:pt x="3536" y="17037"/>
                  </a:lnTo>
                  <a:lnTo>
                    <a:pt x="3873" y="17980"/>
                  </a:lnTo>
                  <a:lnTo>
                    <a:pt x="3940" y="18081"/>
                  </a:lnTo>
                  <a:lnTo>
                    <a:pt x="4007" y="18081"/>
                  </a:lnTo>
                  <a:lnTo>
                    <a:pt x="4075" y="18047"/>
                  </a:lnTo>
                  <a:lnTo>
                    <a:pt x="4142" y="17980"/>
                  </a:lnTo>
                  <a:lnTo>
                    <a:pt x="4681" y="17879"/>
                  </a:lnTo>
                  <a:lnTo>
                    <a:pt x="5253" y="17710"/>
                  </a:lnTo>
                  <a:lnTo>
                    <a:pt x="6330" y="17374"/>
                  </a:lnTo>
                  <a:lnTo>
                    <a:pt x="7576" y="17003"/>
                  </a:lnTo>
                  <a:lnTo>
                    <a:pt x="8856" y="16667"/>
                  </a:lnTo>
                  <a:lnTo>
                    <a:pt x="10337" y="16296"/>
                  </a:lnTo>
                  <a:lnTo>
                    <a:pt x="11111" y="16128"/>
                  </a:lnTo>
                  <a:lnTo>
                    <a:pt x="11852" y="15892"/>
                  </a:lnTo>
                  <a:lnTo>
                    <a:pt x="11852" y="15656"/>
                  </a:lnTo>
                  <a:lnTo>
                    <a:pt x="11044" y="15892"/>
                  </a:lnTo>
                  <a:lnTo>
                    <a:pt x="10202" y="16094"/>
                  </a:lnTo>
                  <a:lnTo>
                    <a:pt x="8519" y="16532"/>
                  </a:lnTo>
                  <a:lnTo>
                    <a:pt x="6263" y="17172"/>
                  </a:lnTo>
                  <a:lnTo>
                    <a:pt x="5152" y="17475"/>
                  </a:lnTo>
                  <a:lnTo>
                    <a:pt x="4613" y="17643"/>
                  </a:lnTo>
                  <a:lnTo>
                    <a:pt x="4108" y="17879"/>
                  </a:lnTo>
                  <a:lnTo>
                    <a:pt x="3536" y="15926"/>
                  </a:lnTo>
                  <a:lnTo>
                    <a:pt x="2997" y="13939"/>
                  </a:lnTo>
                  <a:lnTo>
                    <a:pt x="2526" y="11987"/>
                  </a:lnTo>
                  <a:lnTo>
                    <a:pt x="2055" y="9967"/>
                  </a:lnTo>
                  <a:lnTo>
                    <a:pt x="1146" y="5960"/>
                  </a:lnTo>
                  <a:lnTo>
                    <a:pt x="742" y="4108"/>
                  </a:lnTo>
                  <a:lnTo>
                    <a:pt x="506" y="3199"/>
                  </a:lnTo>
                  <a:lnTo>
                    <a:pt x="338" y="2762"/>
                  </a:lnTo>
                  <a:lnTo>
                    <a:pt x="182" y="2358"/>
                  </a:lnTo>
                  <a:lnTo>
                    <a:pt x="405" y="2358"/>
                  </a:lnTo>
                  <a:lnTo>
                    <a:pt x="641" y="2324"/>
                  </a:lnTo>
                  <a:lnTo>
                    <a:pt x="1078" y="2223"/>
                  </a:lnTo>
                  <a:lnTo>
                    <a:pt x="1954" y="1920"/>
                  </a:lnTo>
                  <a:lnTo>
                    <a:pt x="4209" y="1314"/>
                  </a:lnTo>
                  <a:lnTo>
                    <a:pt x="6465" y="775"/>
                  </a:lnTo>
                  <a:lnTo>
                    <a:pt x="8755" y="304"/>
                  </a:lnTo>
                  <a:lnTo>
                    <a:pt x="8889" y="977"/>
                  </a:lnTo>
                  <a:lnTo>
                    <a:pt x="9024" y="1651"/>
                  </a:lnTo>
                  <a:lnTo>
                    <a:pt x="9394" y="3031"/>
                  </a:lnTo>
                  <a:lnTo>
                    <a:pt x="10303" y="6330"/>
                  </a:lnTo>
                  <a:lnTo>
                    <a:pt x="11280" y="9664"/>
                  </a:lnTo>
                  <a:lnTo>
                    <a:pt x="11549" y="10674"/>
                  </a:lnTo>
                  <a:lnTo>
                    <a:pt x="11852" y="11717"/>
                  </a:lnTo>
                  <a:lnTo>
                    <a:pt x="11852" y="10640"/>
                  </a:lnTo>
                  <a:lnTo>
                    <a:pt x="11583" y="9832"/>
                  </a:lnTo>
                  <a:lnTo>
                    <a:pt x="10640" y="6532"/>
                  </a:lnTo>
                  <a:lnTo>
                    <a:pt x="9798" y="3469"/>
                  </a:lnTo>
                  <a:lnTo>
                    <a:pt x="9394" y="1785"/>
                  </a:lnTo>
                  <a:lnTo>
                    <a:pt x="9159" y="944"/>
                  </a:lnTo>
                  <a:lnTo>
                    <a:pt x="8923" y="136"/>
                  </a:lnTo>
                  <a:lnTo>
                    <a:pt x="8889" y="102"/>
                  </a:lnTo>
                  <a:lnTo>
                    <a:pt x="8822" y="35"/>
                  </a:lnTo>
                  <a:lnTo>
                    <a:pt x="878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2" name="Google Shape;712;p5"/>
            <p:cNvSpPr/>
            <p:nvPr/>
          </p:nvSpPr>
          <p:spPr>
            <a:xfrm>
              <a:off x="6542043" y="3044546"/>
              <a:ext cx="65467" cy="46983"/>
            </a:xfrm>
            <a:custGeom>
              <a:avLst/>
              <a:gdLst/>
              <a:ahLst/>
              <a:cxnLst/>
              <a:rect l="l" t="t" r="r" b="b"/>
              <a:pathLst>
                <a:path w="1314" h="943" extrusionOk="0">
                  <a:moveTo>
                    <a:pt x="943" y="0"/>
                  </a:moveTo>
                  <a:lnTo>
                    <a:pt x="471" y="169"/>
                  </a:lnTo>
                  <a:lnTo>
                    <a:pt x="236" y="236"/>
                  </a:lnTo>
                  <a:lnTo>
                    <a:pt x="168" y="270"/>
                  </a:lnTo>
                  <a:lnTo>
                    <a:pt x="101" y="270"/>
                  </a:lnTo>
                  <a:lnTo>
                    <a:pt x="101" y="236"/>
                  </a:lnTo>
                  <a:lnTo>
                    <a:pt x="34" y="236"/>
                  </a:lnTo>
                  <a:lnTo>
                    <a:pt x="34" y="270"/>
                  </a:lnTo>
                  <a:lnTo>
                    <a:pt x="0" y="270"/>
                  </a:lnTo>
                  <a:lnTo>
                    <a:pt x="34" y="337"/>
                  </a:lnTo>
                  <a:lnTo>
                    <a:pt x="67" y="404"/>
                  </a:lnTo>
                  <a:lnTo>
                    <a:pt x="101" y="404"/>
                  </a:lnTo>
                  <a:lnTo>
                    <a:pt x="168" y="438"/>
                  </a:lnTo>
                  <a:lnTo>
                    <a:pt x="269" y="438"/>
                  </a:lnTo>
                  <a:lnTo>
                    <a:pt x="572" y="404"/>
                  </a:lnTo>
                  <a:lnTo>
                    <a:pt x="875" y="303"/>
                  </a:lnTo>
                  <a:lnTo>
                    <a:pt x="909" y="472"/>
                  </a:lnTo>
                  <a:lnTo>
                    <a:pt x="976" y="606"/>
                  </a:lnTo>
                  <a:lnTo>
                    <a:pt x="875" y="606"/>
                  </a:lnTo>
                  <a:lnTo>
                    <a:pt x="808" y="674"/>
                  </a:lnTo>
                  <a:lnTo>
                    <a:pt x="640" y="741"/>
                  </a:lnTo>
                  <a:lnTo>
                    <a:pt x="572" y="775"/>
                  </a:lnTo>
                  <a:lnTo>
                    <a:pt x="539" y="775"/>
                  </a:lnTo>
                  <a:lnTo>
                    <a:pt x="572" y="741"/>
                  </a:lnTo>
                  <a:lnTo>
                    <a:pt x="707" y="674"/>
                  </a:lnTo>
                  <a:lnTo>
                    <a:pt x="842" y="573"/>
                  </a:lnTo>
                  <a:lnTo>
                    <a:pt x="842" y="539"/>
                  </a:lnTo>
                  <a:lnTo>
                    <a:pt x="842" y="505"/>
                  </a:lnTo>
                  <a:lnTo>
                    <a:pt x="808" y="472"/>
                  </a:lnTo>
                  <a:lnTo>
                    <a:pt x="741" y="438"/>
                  </a:lnTo>
                  <a:lnTo>
                    <a:pt x="572" y="539"/>
                  </a:lnTo>
                  <a:lnTo>
                    <a:pt x="370" y="640"/>
                  </a:lnTo>
                  <a:lnTo>
                    <a:pt x="269" y="741"/>
                  </a:lnTo>
                  <a:lnTo>
                    <a:pt x="236" y="775"/>
                  </a:lnTo>
                  <a:lnTo>
                    <a:pt x="269" y="842"/>
                  </a:lnTo>
                  <a:lnTo>
                    <a:pt x="303" y="876"/>
                  </a:lnTo>
                  <a:lnTo>
                    <a:pt x="337" y="876"/>
                  </a:lnTo>
                  <a:lnTo>
                    <a:pt x="438" y="808"/>
                  </a:lnTo>
                  <a:lnTo>
                    <a:pt x="438" y="876"/>
                  </a:lnTo>
                  <a:lnTo>
                    <a:pt x="471" y="909"/>
                  </a:lnTo>
                  <a:lnTo>
                    <a:pt x="539" y="943"/>
                  </a:lnTo>
                  <a:lnTo>
                    <a:pt x="707" y="909"/>
                  </a:lnTo>
                  <a:lnTo>
                    <a:pt x="875" y="808"/>
                  </a:lnTo>
                  <a:lnTo>
                    <a:pt x="976" y="741"/>
                  </a:lnTo>
                  <a:lnTo>
                    <a:pt x="1044" y="674"/>
                  </a:lnTo>
                  <a:lnTo>
                    <a:pt x="1111" y="741"/>
                  </a:lnTo>
                  <a:lnTo>
                    <a:pt x="1212" y="741"/>
                  </a:lnTo>
                  <a:lnTo>
                    <a:pt x="1279" y="707"/>
                  </a:lnTo>
                  <a:lnTo>
                    <a:pt x="1313" y="640"/>
                  </a:lnTo>
                  <a:lnTo>
                    <a:pt x="1279" y="573"/>
                  </a:lnTo>
                  <a:lnTo>
                    <a:pt x="1246" y="505"/>
                  </a:lnTo>
                  <a:lnTo>
                    <a:pt x="1145" y="303"/>
                  </a:lnTo>
                  <a:lnTo>
                    <a:pt x="1111" y="135"/>
                  </a:lnTo>
                  <a:lnTo>
                    <a:pt x="1111" y="68"/>
                  </a:lnTo>
                  <a:lnTo>
                    <a:pt x="1077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3" name="Google Shape;713;p5"/>
            <p:cNvSpPr/>
            <p:nvPr/>
          </p:nvSpPr>
          <p:spPr>
            <a:xfrm>
              <a:off x="6292083" y="2138723"/>
              <a:ext cx="35274" cy="35274"/>
            </a:xfrm>
            <a:custGeom>
              <a:avLst/>
              <a:gdLst/>
              <a:ahLst/>
              <a:cxnLst/>
              <a:rect l="l" t="t" r="r" b="b"/>
              <a:pathLst>
                <a:path w="708" h="708" extrusionOk="0">
                  <a:moveTo>
                    <a:pt x="438" y="203"/>
                  </a:moveTo>
                  <a:lnTo>
                    <a:pt x="506" y="236"/>
                  </a:lnTo>
                  <a:lnTo>
                    <a:pt x="539" y="304"/>
                  </a:lnTo>
                  <a:lnTo>
                    <a:pt x="539" y="405"/>
                  </a:lnTo>
                  <a:lnTo>
                    <a:pt x="506" y="472"/>
                  </a:lnTo>
                  <a:lnTo>
                    <a:pt x="438" y="539"/>
                  </a:lnTo>
                  <a:lnTo>
                    <a:pt x="270" y="539"/>
                  </a:lnTo>
                  <a:lnTo>
                    <a:pt x="203" y="506"/>
                  </a:lnTo>
                  <a:lnTo>
                    <a:pt x="169" y="405"/>
                  </a:lnTo>
                  <a:lnTo>
                    <a:pt x="236" y="304"/>
                  </a:lnTo>
                  <a:lnTo>
                    <a:pt x="270" y="270"/>
                  </a:lnTo>
                  <a:lnTo>
                    <a:pt x="337" y="236"/>
                  </a:lnTo>
                  <a:lnTo>
                    <a:pt x="371" y="203"/>
                  </a:lnTo>
                  <a:close/>
                  <a:moveTo>
                    <a:pt x="337" y="1"/>
                  </a:moveTo>
                  <a:lnTo>
                    <a:pt x="270" y="34"/>
                  </a:lnTo>
                  <a:lnTo>
                    <a:pt x="203" y="68"/>
                  </a:lnTo>
                  <a:lnTo>
                    <a:pt x="135" y="135"/>
                  </a:lnTo>
                  <a:lnTo>
                    <a:pt x="102" y="203"/>
                  </a:lnTo>
                  <a:lnTo>
                    <a:pt x="102" y="236"/>
                  </a:lnTo>
                  <a:lnTo>
                    <a:pt x="34" y="337"/>
                  </a:lnTo>
                  <a:lnTo>
                    <a:pt x="1" y="438"/>
                  </a:lnTo>
                  <a:lnTo>
                    <a:pt x="34" y="539"/>
                  </a:lnTo>
                  <a:lnTo>
                    <a:pt x="68" y="607"/>
                  </a:lnTo>
                  <a:lnTo>
                    <a:pt x="135" y="674"/>
                  </a:lnTo>
                  <a:lnTo>
                    <a:pt x="203" y="708"/>
                  </a:lnTo>
                  <a:lnTo>
                    <a:pt x="371" y="708"/>
                  </a:lnTo>
                  <a:lnTo>
                    <a:pt x="506" y="674"/>
                  </a:lnTo>
                  <a:lnTo>
                    <a:pt x="607" y="640"/>
                  </a:lnTo>
                  <a:lnTo>
                    <a:pt x="640" y="573"/>
                  </a:lnTo>
                  <a:lnTo>
                    <a:pt x="708" y="438"/>
                  </a:lnTo>
                  <a:lnTo>
                    <a:pt x="708" y="270"/>
                  </a:lnTo>
                  <a:lnTo>
                    <a:pt x="674" y="169"/>
                  </a:lnTo>
                  <a:lnTo>
                    <a:pt x="640" y="102"/>
                  </a:lnTo>
                  <a:lnTo>
                    <a:pt x="573" y="68"/>
                  </a:lnTo>
                  <a:lnTo>
                    <a:pt x="506" y="34"/>
                  </a:lnTo>
                  <a:lnTo>
                    <a:pt x="33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4" name="Google Shape;714;p5"/>
            <p:cNvSpPr/>
            <p:nvPr/>
          </p:nvSpPr>
          <p:spPr>
            <a:xfrm>
              <a:off x="6538655" y="3066318"/>
              <a:ext cx="16840" cy="30242"/>
            </a:xfrm>
            <a:custGeom>
              <a:avLst/>
              <a:gdLst/>
              <a:ahLst/>
              <a:cxnLst/>
              <a:rect l="l" t="t" r="r" b="b"/>
              <a:pathLst>
                <a:path w="338" h="607" extrusionOk="0">
                  <a:moveTo>
                    <a:pt x="34" y="1"/>
                  </a:moveTo>
                  <a:lnTo>
                    <a:pt x="1" y="35"/>
                  </a:lnTo>
                  <a:lnTo>
                    <a:pt x="1" y="270"/>
                  </a:lnTo>
                  <a:lnTo>
                    <a:pt x="1" y="472"/>
                  </a:lnTo>
                  <a:lnTo>
                    <a:pt x="34" y="540"/>
                  </a:lnTo>
                  <a:lnTo>
                    <a:pt x="102" y="607"/>
                  </a:lnTo>
                  <a:lnTo>
                    <a:pt x="304" y="607"/>
                  </a:lnTo>
                  <a:lnTo>
                    <a:pt x="337" y="540"/>
                  </a:lnTo>
                  <a:lnTo>
                    <a:pt x="337" y="472"/>
                  </a:lnTo>
                  <a:lnTo>
                    <a:pt x="270" y="405"/>
                  </a:lnTo>
                  <a:lnTo>
                    <a:pt x="236" y="405"/>
                  </a:lnTo>
                  <a:lnTo>
                    <a:pt x="203" y="169"/>
                  </a:lnTo>
                  <a:lnTo>
                    <a:pt x="135" y="102"/>
                  </a:lnTo>
                  <a:lnTo>
                    <a:pt x="6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5" name="Google Shape;715;p5"/>
            <p:cNvSpPr/>
            <p:nvPr/>
          </p:nvSpPr>
          <p:spPr>
            <a:xfrm>
              <a:off x="6421223" y="2091740"/>
              <a:ext cx="105773" cy="40306"/>
            </a:xfrm>
            <a:custGeom>
              <a:avLst/>
              <a:gdLst/>
              <a:ahLst/>
              <a:cxnLst/>
              <a:rect l="l" t="t" r="r" b="b"/>
              <a:pathLst>
                <a:path w="2123" h="809" extrusionOk="0">
                  <a:moveTo>
                    <a:pt x="1920" y="1"/>
                  </a:moveTo>
                  <a:lnTo>
                    <a:pt x="1853" y="34"/>
                  </a:lnTo>
                  <a:lnTo>
                    <a:pt x="1617" y="102"/>
                  </a:lnTo>
                  <a:lnTo>
                    <a:pt x="1381" y="169"/>
                  </a:lnTo>
                  <a:lnTo>
                    <a:pt x="944" y="270"/>
                  </a:lnTo>
                  <a:lnTo>
                    <a:pt x="472" y="371"/>
                  </a:lnTo>
                  <a:lnTo>
                    <a:pt x="270" y="472"/>
                  </a:lnTo>
                  <a:lnTo>
                    <a:pt x="35" y="573"/>
                  </a:lnTo>
                  <a:lnTo>
                    <a:pt x="1" y="674"/>
                  </a:lnTo>
                  <a:lnTo>
                    <a:pt x="1" y="741"/>
                  </a:lnTo>
                  <a:lnTo>
                    <a:pt x="68" y="809"/>
                  </a:lnTo>
                  <a:lnTo>
                    <a:pt x="136" y="809"/>
                  </a:lnTo>
                  <a:lnTo>
                    <a:pt x="1112" y="640"/>
                  </a:lnTo>
                  <a:lnTo>
                    <a:pt x="1583" y="506"/>
                  </a:lnTo>
                  <a:lnTo>
                    <a:pt x="2021" y="337"/>
                  </a:lnTo>
                  <a:lnTo>
                    <a:pt x="2088" y="304"/>
                  </a:lnTo>
                  <a:lnTo>
                    <a:pt x="2122" y="236"/>
                  </a:lnTo>
                  <a:lnTo>
                    <a:pt x="2122" y="169"/>
                  </a:lnTo>
                  <a:lnTo>
                    <a:pt x="2088" y="102"/>
                  </a:lnTo>
                  <a:lnTo>
                    <a:pt x="2055" y="68"/>
                  </a:lnTo>
                  <a:lnTo>
                    <a:pt x="1987" y="34"/>
                  </a:lnTo>
                  <a:lnTo>
                    <a:pt x="192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6" name="Google Shape;716;p5"/>
            <p:cNvSpPr/>
            <p:nvPr/>
          </p:nvSpPr>
          <p:spPr>
            <a:xfrm>
              <a:off x="6654393" y="2992531"/>
              <a:ext cx="152706" cy="80563"/>
            </a:xfrm>
            <a:custGeom>
              <a:avLst/>
              <a:gdLst/>
              <a:ahLst/>
              <a:cxnLst/>
              <a:rect l="l" t="t" r="r" b="b"/>
              <a:pathLst>
                <a:path w="3065" h="1617" extrusionOk="0">
                  <a:moveTo>
                    <a:pt x="2896" y="1"/>
                  </a:moveTo>
                  <a:lnTo>
                    <a:pt x="1482" y="371"/>
                  </a:lnTo>
                  <a:lnTo>
                    <a:pt x="68" y="809"/>
                  </a:lnTo>
                  <a:lnTo>
                    <a:pt x="1" y="842"/>
                  </a:lnTo>
                  <a:lnTo>
                    <a:pt x="1" y="910"/>
                  </a:lnTo>
                  <a:lnTo>
                    <a:pt x="35" y="977"/>
                  </a:lnTo>
                  <a:lnTo>
                    <a:pt x="102" y="977"/>
                  </a:lnTo>
                  <a:lnTo>
                    <a:pt x="775" y="842"/>
                  </a:lnTo>
                  <a:lnTo>
                    <a:pt x="1449" y="674"/>
                  </a:lnTo>
                  <a:lnTo>
                    <a:pt x="2762" y="304"/>
                  </a:lnTo>
                  <a:lnTo>
                    <a:pt x="2762" y="405"/>
                  </a:lnTo>
                  <a:lnTo>
                    <a:pt x="2762" y="506"/>
                  </a:lnTo>
                  <a:lnTo>
                    <a:pt x="2728" y="607"/>
                  </a:lnTo>
                  <a:lnTo>
                    <a:pt x="2694" y="708"/>
                  </a:lnTo>
                  <a:lnTo>
                    <a:pt x="2526" y="842"/>
                  </a:lnTo>
                  <a:lnTo>
                    <a:pt x="2290" y="977"/>
                  </a:lnTo>
                  <a:lnTo>
                    <a:pt x="2021" y="1078"/>
                  </a:lnTo>
                  <a:lnTo>
                    <a:pt x="1785" y="1145"/>
                  </a:lnTo>
                  <a:lnTo>
                    <a:pt x="1348" y="1246"/>
                  </a:lnTo>
                  <a:lnTo>
                    <a:pt x="573" y="1381"/>
                  </a:lnTo>
                  <a:lnTo>
                    <a:pt x="439" y="1347"/>
                  </a:lnTo>
                  <a:lnTo>
                    <a:pt x="338" y="1280"/>
                  </a:lnTo>
                  <a:lnTo>
                    <a:pt x="237" y="1213"/>
                  </a:lnTo>
                  <a:lnTo>
                    <a:pt x="136" y="1145"/>
                  </a:lnTo>
                  <a:lnTo>
                    <a:pt x="102" y="1179"/>
                  </a:lnTo>
                  <a:lnTo>
                    <a:pt x="136" y="1280"/>
                  </a:lnTo>
                  <a:lnTo>
                    <a:pt x="169" y="1381"/>
                  </a:lnTo>
                  <a:lnTo>
                    <a:pt x="304" y="1583"/>
                  </a:lnTo>
                  <a:lnTo>
                    <a:pt x="371" y="1617"/>
                  </a:lnTo>
                  <a:lnTo>
                    <a:pt x="439" y="1617"/>
                  </a:lnTo>
                  <a:lnTo>
                    <a:pt x="1550" y="1448"/>
                  </a:lnTo>
                  <a:lnTo>
                    <a:pt x="2088" y="1314"/>
                  </a:lnTo>
                  <a:lnTo>
                    <a:pt x="2358" y="1213"/>
                  </a:lnTo>
                  <a:lnTo>
                    <a:pt x="2627" y="1112"/>
                  </a:lnTo>
                  <a:lnTo>
                    <a:pt x="2728" y="1044"/>
                  </a:lnTo>
                  <a:lnTo>
                    <a:pt x="2795" y="943"/>
                  </a:lnTo>
                  <a:lnTo>
                    <a:pt x="2930" y="741"/>
                  </a:lnTo>
                  <a:lnTo>
                    <a:pt x="2997" y="472"/>
                  </a:lnTo>
                  <a:lnTo>
                    <a:pt x="2997" y="337"/>
                  </a:lnTo>
                  <a:lnTo>
                    <a:pt x="2964" y="236"/>
                  </a:lnTo>
                  <a:lnTo>
                    <a:pt x="3031" y="203"/>
                  </a:lnTo>
                  <a:lnTo>
                    <a:pt x="3065" y="169"/>
                  </a:lnTo>
                  <a:lnTo>
                    <a:pt x="3065" y="68"/>
                  </a:lnTo>
                  <a:lnTo>
                    <a:pt x="299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7" name="Google Shape;717;p5"/>
            <p:cNvSpPr/>
            <p:nvPr/>
          </p:nvSpPr>
          <p:spPr>
            <a:xfrm>
              <a:off x="6233393" y="2021291"/>
              <a:ext cx="637429" cy="1130622"/>
            </a:xfrm>
            <a:custGeom>
              <a:avLst/>
              <a:gdLst/>
              <a:ahLst/>
              <a:cxnLst/>
              <a:rect l="l" t="t" r="r" b="b"/>
              <a:pathLst>
                <a:path w="12794" h="22693" extrusionOk="0">
                  <a:moveTo>
                    <a:pt x="10774" y="3334"/>
                  </a:moveTo>
                  <a:lnTo>
                    <a:pt x="10841" y="3368"/>
                  </a:lnTo>
                  <a:lnTo>
                    <a:pt x="11178" y="4209"/>
                  </a:lnTo>
                  <a:lnTo>
                    <a:pt x="11245" y="4378"/>
                  </a:lnTo>
                  <a:lnTo>
                    <a:pt x="11346" y="4580"/>
                  </a:lnTo>
                  <a:lnTo>
                    <a:pt x="11346" y="4681"/>
                  </a:lnTo>
                  <a:lnTo>
                    <a:pt x="11346" y="4748"/>
                  </a:lnTo>
                  <a:lnTo>
                    <a:pt x="11313" y="4815"/>
                  </a:lnTo>
                  <a:lnTo>
                    <a:pt x="11212" y="4849"/>
                  </a:lnTo>
                  <a:lnTo>
                    <a:pt x="11111" y="4546"/>
                  </a:lnTo>
                  <a:lnTo>
                    <a:pt x="10774" y="3334"/>
                  </a:lnTo>
                  <a:close/>
                  <a:moveTo>
                    <a:pt x="6868" y="1"/>
                  </a:moveTo>
                  <a:lnTo>
                    <a:pt x="6363" y="34"/>
                  </a:lnTo>
                  <a:lnTo>
                    <a:pt x="5892" y="102"/>
                  </a:lnTo>
                  <a:lnTo>
                    <a:pt x="5387" y="169"/>
                  </a:lnTo>
                  <a:lnTo>
                    <a:pt x="4882" y="270"/>
                  </a:lnTo>
                  <a:lnTo>
                    <a:pt x="3939" y="506"/>
                  </a:lnTo>
                  <a:lnTo>
                    <a:pt x="2963" y="809"/>
                  </a:lnTo>
                  <a:lnTo>
                    <a:pt x="2492" y="977"/>
                  </a:lnTo>
                  <a:lnTo>
                    <a:pt x="2020" y="1145"/>
                  </a:lnTo>
                  <a:lnTo>
                    <a:pt x="1583" y="1381"/>
                  </a:lnTo>
                  <a:lnTo>
                    <a:pt x="1145" y="1617"/>
                  </a:lnTo>
                  <a:lnTo>
                    <a:pt x="876" y="1819"/>
                  </a:lnTo>
                  <a:lnTo>
                    <a:pt x="640" y="2021"/>
                  </a:lnTo>
                  <a:lnTo>
                    <a:pt x="438" y="2257"/>
                  </a:lnTo>
                  <a:lnTo>
                    <a:pt x="236" y="2560"/>
                  </a:lnTo>
                  <a:lnTo>
                    <a:pt x="101" y="2829"/>
                  </a:lnTo>
                  <a:lnTo>
                    <a:pt x="0" y="3132"/>
                  </a:lnTo>
                  <a:lnTo>
                    <a:pt x="0" y="3469"/>
                  </a:lnTo>
                  <a:lnTo>
                    <a:pt x="34" y="3772"/>
                  </a:lnTo>
                  <a:lnTo>
                    <a:pt x="34" y="3805"/>
                  </a:lnTo>
                  <a:lnTo>
                    <a:pt x="34" y="3839"/>
                  </a:lnTo>
                  <a:lnTo>
                    <a:pt x="101" y="4378"/>
                  </a:lnTo>
                  <a:lnTo>
                    <a:pt x="236" y="4883"/>
                  </a:lnTo>
                  <a:lnTo>
                    <a:pt x="505" y="5893"/>
                  </a:lnTo>
                  <a:lnTo>
                    <a:pt x="808" y="6903"/>
                  </a:lnTo>
                  <a:lnTo>
                    <a:pt x="1111" y="7946"/>
                  </a:lnTo>
                  <a:lnTo>
                    <a:pt x="1583" y="10101"/>
                  </a:lnTo>
                  <a:lnTo>
                    <a:pt x="2020" y="12256"/>
                  </a:lnTo>
                  <a:lnTo>
                    <a:pt x="2559" y="14478"/>
                  </a:lnTo>
                  <a:lnTo>
                    <a:pt x="3131" y="16700"/>
                  </a:lnTo>
                  <a:lnTo>
                    <a:pt x="3704" y="18889"/>
                  </a:lnTo>
                  <a:lnTo>
                    <a:pt x="4377" y="21077"/>
                  </a:lnTo>
                  <a:lnTo>
                    <a:pt x="4411" y="21144"/>
                  </a:lnTo>
                  <a:lnTo>
                    <a:pt x="4411" y="21346"/>
                  </a:lnTo>
                  <a:lnTo>
                    <a:pt x="4478" y="21481"/>
                  </a:lnTo>
                  <a:lnTo>
                    <a:pt x="4613" y="21649"/>
                  </a:lnTo>
                  <a:lnTo>
                    <a:pt x="4747" y="21818"/>
                  </a:lnTo>
                  <a:lnTo>
                    <a:pt x="5084" y="22087"/>
                  </a:lnTo>
                  <a:lnTo>
                    <a:pt x="5421" y="22255"/>
                  </a:lnTo>
                  <a:lnTo>
                    <a:pt x="5724" y="22424"/>
                  </a:lnTo>
                  <a:lnTo>
                    <a:pt x="6027" y="22525"/>
                  </a:lnTo>
                  <a:lnTo>
                    <a:pt x="6363" y="22626"/>
                  </a:lnTo>
                  <a:lnTo>
                    <a:pt x="6734" y="22659"/>
                  </a:lnTo>
                  <a:lnTo>
                    <a:pt x="7070" y="22693"/>
                  </a:lnTo>
                  <a:lnTo>
                    <a:pt x="7407" y="22693"/>
                  </a:lnTo>
                  <a:lnTo>
                    <a:pt x="8114" y="22659"/>
                  </a:lnTo>
                  <a:lnTo>
                    <a:pt x="8720" y="22592"/>
                  </a:lnTo>
                  <a:lnTo>
                    <a:pt x="9293" y="22491"/>
                  </a:lnTo>
                  <a:lnTo>
                    <a:pt x="9899" y="22390"/>
                  </a:lnTo>
                  <a:lnTo>
                    <a:pt x="10471" y="22255"/>
                  </a:lnTo>
                  <a:lnTo>
                    <a:pt x="11649" y="21919"/>
                  </a:lnTo>
                  <a:lnTo>
                    <a:pt x="12794" y="21515"/>
                  </a:lnTo>
                  <a:lnTo>
                    <a:pt x="12794" y="21212"/>
                  </a:lnTo>
                  <a:lnTo>
                    <a:pt x="11313" y="21717"/>
                  </a:lnTo>
                  <a:lnTo>
                    <a:pt x="10538" y="21919"/>
                  </a:lnTo>
                  <a:lnTo>
                    <a:pt x="9798" y="22121"/>
                  </a:lnTo>
                  <a:lnTo>
                    <a:pt x="9124" y="22255"/>
                  </a:lnTo>
                  <a:lnTo>
                    <a:pt x="8485" y="22390"/>
                  </a:lnTo>
                  <a:lnTo>
                    <a:pt x="7811" y="22424"/>
                  </a:lnTo>
                  <a:lnTo>
                    <a:pt x="7138" y="22457"/>
                  </a:lnTo>
                  <a:lnTo>
                    <a:pt x="6801" y="22424"/>
                  </a:lnTo>
                  <a:lnTo>
                    <a:pt x="6498" y="22390"/>
                  </a:lnTo>
                  <a:lnTo>
                    <a:pt x="6195" y="22289"/>
                  </a:lnTo>
                  <a:lnTo>
                    <a:pt x="5858" y="22188"/>
                  </a:lnTo>
                  <a:lnTo>
                    <a:pt x="5522" y="22053"/>
                  </a:lnTo>
                  <a:lnTo>
                    <a:pt x="5320" y="21919"/>
                  </a:lnTo>
                  <a:lnTo>
                    <a:pt x="5084" y="21784"/>
                  </a:lnTo>
                  <a:lnTo>
                    <a:pt x="4916" y="21616"/>
                  </a:lnTo>
                  <a:lnTo>
                    <a:pt x="4747" y="21447"/>
                  </a:lnTo>
                  <a:lnTo>
                    <a:pt x="4646" y="21279"/>
                  </a:lnTo>
                  <a:lnTo>
                    <a:pt x="4613" y="21077"/>
                  </a:lnTo>
                  <a:lnTo>
                    <a:pt x="4613" y="21043"/>
                  </a:lnTo>
                  <a:lnTo>
                    <a:pt x="4007" y="18889"/>
                  </a:lnTo>
                  <a:lnTo>
                    <a:pt x="3434" y="16734"/>
                  </a:lnTo>
                  <a:lnTo>
                    <a:pt x="2862" y="14579"/>
                  </a:lnTo>
                  <a:lnTo>
                    <a:pt x="2323" y="12424"/>
                  </a:lnTo>
                  <a:lnTo>
                    <a:pt x="1852" y="10269"/>
                  </a:lnTo>
                  <a:lnTo>
                    <a:pt x="1414" y="8115"/>
                  </a:lnTo>
                  <a:lnTo>
                    <a:pt x="1280" y="7576"/>
                  </a:lnTo>
                  <a:lnTo>
                    <a:pt x="1145" y="7037"/>
                  </a:lnTo>
                  <a:lnTo>
                    <a:pt x="808" y="5960"/>
                  </a:lnTo>
                  <a:lnTo>
                    <a:pt x="472" y="4883"/>
                  </a:lnTo>
                  <a:lnTo>
                    <a:pt x="303" y="4344"/>
                  </a:lnTo>
                  <a:lnTo>
                    <a:pt x="169" y="3805"/>
                  </a:lnTo>
                  <a:lnTo>
                    <a:pt x="135" y="3772"/>
                  </a:lnTo>
                  <a:lnTo>
                    <a:pt x="202" y="3368"/>
                  </a:lnTo>
                  <a:lnTo>
                    <a:pt x="303" y="2997"/>
                  </a:lnTo>
                  <a:lnTo>
                    <a:pt x="472" y="2694"/>
                  </a:lnTo>
                  <a:lnTo>
                    <a:pt x="674" y="2391"/>
                  </a:lnTo>
                  <a:lnTo>
                    <a:pt x="909" y="2122"/>
                  </a:lnTo>
                  <a:lnTo>
                    <a:pt x="1179" y="1920"/>
                  </a:lnTo>
                  <a:lnTo>
                    <a:pt x="1482" y="1684"/>
                  </a:lnTo>
                  <a:lnTo>
                    <a:pt x="1818" y="1516"/>
                  </a:lnTo>
                  <a:lnTo>
                    <a:pt x="2155" y="1347"/>
                  </a:lnTo>
                  <a:lnTo>
                    <a:pt x="2525" y="1213"/>
                  </a:lnTo>
                  <a:lnTo>
                    <a:pt x="3266" y="943"/>
                  </a:lnTo>
                  <a:lnTo>
                    <a:pt x="4007" y="741"/>
                  </a:lnTo>
                  <a:lnTo>
                    <a:pt x="4714" y="573"/>
                  </a:lnTo>
                  <a:lnTo>
                    <a:pt x="5555" y="405"/>
                  </a:lnTo>
                  <a:lnTo>
                    <a:pt x="5959" y="337"/>
                  </a:lnTo>
                  <a:lnTo>
                    <a:pt x="6397" y="304"/>
                  </a:lnTo>
                  <a:lnTo>
                    <a:pt x="6801" y="270"/>
                  </a:lnTo>
                  <a:lnTo>
                    <a:pt x="7239" y="304"/>
                  </a:lnTo>
                  <a:lnTo>
                    <a:pt x="7643" y="304"/>
                  </a:lnTo>
                  <a:lnTo>
                    <a:pt x="8080" y="371"/>
                  </a:lnTo>
                  <a:lnTo>
                    <a:pt x="8518" y="472"/>
                  </a:lnTo>
                  <a:lnTo>
                    <a:pt x="8922" y="607"/>
                  </a:lnTo>
                  <a:lnTo>
                    <a:pt x="9326" y="809"/>
                  </a:lnTo>
                  <a:lnTo>
                    <a:pt x="9495" y="943"/>
                  </a:lnTo>
                  <a:lnTo>
                    <a:pt x="9697" y="1078"/>
                  </a:lnTo>
                  <a:lnTo>
                    <a:pt x="9831" y="1246"/>
                  </a:lnTo>
                  <a:lnTo>
                    <a:pt x="9966" y="1448"/>
                  </a:lnTo>
                  <a:lnTo>
                    <a:pt x="10101" y="1650"/>
                  </a:lnTo>
                  <a:lnTo>
                    <a:pt x="10202" y="1852"/>
                  </a:lnTo>
                  <a:lnTo>
                    <a:pt x="10168" y="1886"/>
                  </a:lnTo>
                  <a:lnTo>
                    <a:pt x="10168" y="2088"/>
                  </a:lnTo>
                  <a:lnTo>
                    <a:pt x="10202" y="2223"/>
                  </a:lnTo>
                  <a:lnTo>
                    <a:pt x="10303" y="2593"/>
                  </a:lnTo>
                  <a:lnTo>
                    <a:pt x="10707" y="4108"/>
                  </a:lnTo>
                  <a:lnTo>
                    <a:pt x="11616" y="7138"/>
                  </a:lnTo>
                  <a:lnTo>
                    <a:pt x="12491" y="10168"/>
                  </a:lnTo>
                  <a:lnTo>
                    <a:pt x="12794" y="11347"/>
                  </a:lnTo>
                  <a:lnTo>
                    <a:pt x="12794" y="10337"/>
                  </a:lnTo>
                  <a:lnTo>
                    <a:pt x="12727" y="10101"/>
                  </a:lnTo>
                  <a:lnTo>
                    <a:pt x="11919" y="7340"/>
                  </a:lnTo>
                  <a:lnTo>
                    <a:pt x="11582" y="6196"/>
                  </a:lnTo>
                  <a:lnTo>
                    <a:pt x="11279" y="5085"/>
                  </a:lnTo>
                  <a:lnTo>
                    <a:pt x="11346" y="5085"/>
                  </a:lnTo>
                  <a:lnTo>
                    <a:pt x="11414" y="5051"/>
                  </a:lnTo>
                  <a:lnTo>
                    <a:pt x="11447" y="5017"/>
                  </a:lnTo>
                  <a:lnTo>
                    <a:pt x="11515" y="4916"/>
                  </a:lnTo>
                  <a:lnTo>
                    <a:pt x="11582" y="4849"/>
                  </a:lnTo>
                  <a:lnTo>
                    <a:pt x="11616" y="4815"/>
                  </a:lnTo>
                  <a:lnTo>
                    <a:pt x="11616" y="4748"/>
                  </a:lnTo>
                  <a:lnTo>
                    <a:pt x="11346" y="3974"/>
                  </a:lnTo>
                  <a:lnTo>
                    <a:pt x="11043" y="3233"/>
                  </a:lnTo>
                  <a:lnTo>
                    <a:pt x="10976" y="3166"/>
                  </a:lnTo>
                  <a:lnTo>
                    <a:pt x="10707" y="3166"/>
                  </a:lnTo>
                  <a:lnTo>
                    <a:pt x="10471" y="2560"/>
                  </a:lnTo>
                  <a:lnTo>
                    <a:pt x="10639" y="2560"/>
                  </a:lnTo>
                  <a:lnTo>
                    <a:pt x="10673" y="2492"/>
                  </a:lnTo>
                  <a:lnTo>
                    <a:pt x="10673" y="2425"/>
                  </a:lnTo>
                  <a:lnTo>
                    <a:pt x="10538" y="2054"/>
                  </a:lnTo>
                  <a:lnTo>
                    <a:pt x="10404" y="1718"/>
                  </a:lnTo>
                  <a:lnTo>
                    <a:pt x="10235" y="1415"/>
                  </a:lnTo>
                  <a:lnTo>
                    <a:pt x="10033" y="1112"/>
                  </a:lnTo>
                  <a:lnTo>
                    <a:pt x="9798" y="876"/>
                  </a:lnTo>
                  <a:lnTo>
                    <a:pt x="9528" y="640"/>
                  </a:lnTo>
                  <a:lnTo>
                    <a:pt x="9225" y="472"/>
                  </a:lnTo>
                  <a:lnTo>
                    <a:pt x="8855" y="304"/>
                  </a:lnTo>
                  <a:lnTo>
                    <a:pt x="8384" y="169"/>
                  </a:lnTo>
                  <a:lnTo>
                    <a:pt x="7878" y="68"/>
                  </a:lnTo>
                  <a:lnTo>
                    <a:pt x="7373" y="34"/>
                  </a:lnTo>
                  <a:lnTo>
                    <a:pt x="686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18" name="Google Shape;718;p5"/>
            <p:cNvSpPr/>
            <p:nvPr/>
          </p:nvSpPr>
          <p:spPr>
            <a:xfrm>
              <a:off x="6609104" y="2068274"/>
              <a:ext cx="21872" cy="20178"/>
            </a:xfrm>
            <a:custGeom>
              <a:avLst/>
              <a:gdLst/>
              <a:ahLst/>
              <a:cxnLst/>
              <a:rect l="l" t="t" r="r" b="b"/>
              <a:pathLst>
                <a:path w="439" h="405" extrusionOk="0">
                  <a:moveTo>
                    <a:pt x="135" y="0"/>
                  </a:moveTo>
                  <a:lnTo>
                    <a:pt x="34" y="101"/>
                  </a:lnTo>
                  <a:lnTo>
                    <a:pt x="34" y="169"/>
                  </a:lnTo>
                  <a:lnTo>
                    <a:pt x="1" y="236"/>
                  </a:lnTo>
                  <a:lnTo>
                    <a:pt x="34" y="337"/>
                  </a:lnTo>
                  <a:lnTo>
                    <a:pt x="68" y="371"/>
                  </a:lnTo>
                  <a:lnTo>
                    <a:pt x="135" y="404"/>
                  </a:lnTo>
                  <a:lnTo>
                    <a:pt x="203" y="404"/>
                  </a:lnTo>
                  <a:lnTo>
                    <a:pt x="270" y="371"/>
                  </a:lnTo>
                  <a:lnTo>
                    <a:pt x="371" y="337"/>
                  </a:lnTo>
                  <a:lnTo>
                    <a:pt x="405" y="270"/>
                  </a:lnTo>
                  <a:lnTo>
                    <a:pt x="438" y="169"/>
                  </a:lnTo>
                  <a:lnTo>
                    <a:pt x="405" y="101"/>
                  </a:lnTo>
                  <a:lnTo>
                    <a:pt x="337" y="34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19" name="Google Shape;719;p5"/>
          <p:cNvGrpSpPr/>
          <p:nvPr/>
        </p:nvGrpSpPr>
        <p:grpSpPr>
          <a:xfrm>
            <a:off x="9952905" y="4824270"/>
            <a:ext cx="2238824" cy="2046509"/>
            <a:chOff x="5191704" y="3618202"/>
            <a:chExt cx="1679118" cy="1534882"/>
          </a:xfrm>
        </p:grpSpPr>
        <p:sp>
          <p:nvSpPr>
            <p:cNvPr id="720" name="Google Shape;720;p5"/>
            <p:cNvSpPr/>
            <p:nvPr/>
          </p:nvSpPr>
          <p:spPr>
            <a:xfrm>
              <a:off x="6010287" y="4958477"/>
              <a:ext cx="610625" cy="194607"/>
            </a:xfrm>
            <a:custGeom>
              <a:avLst/>
              <a:gdLst/>
              <a:ahLst/>
              <a:cxnLst/>
              <a:rect l="l" t="t" r="r" b="b"/>
              <a:pathLst>
                <a:path w="12256" h="3906" extrusionOk="0">
                  <a:moveTo>
                    <a:pt x="2492" y="775"/>
                  </a:moveTo>
                  <a:lnTo>
                    <a:pt x="2727" y="809"/>
                  </a:lnTo>
                  <a:lnTo>
                    <a:pt x="2963" y="943"/>
                  </a:lnTo>
                  <a:lnTo>
                    <a:pt x="3131" y="1078"/>
                  </a:lnTo>
                  <a:lnTo>
                    <a:pt x="3266" y="1280"/>
                  </a:lnTo>
                  <a:lnTo>
                    <a:pt x="3333" y="1549"/>
                  </a:lnTo>
                  <a:lnTo>
                    <a:pt x="2727" y="2189"/>
                  </a:lnTo>
                  <a:lnTo>
                    <a:pt x="2222" y="2795"/>
                  </a:lnTo>
                  <a:lnTo>
                    <a:pt x="1953" y="3132"/>
                  </a:lnTo>
                  <a:lnTo>
                    <a:pt x="1684" y="3401"/>
                  </a:lnTo>
                  <a:lnTo>
                    <a:pt x="1515" y="3536"/>
                  </a:lnTo>
                  <a:lnTo>
                    <a:pt x="1347" y="3603"/>
                  </a:lnTo>
                  <a:lnTo>
                    <a:pt x="1145" y="3670"/>
                  </a:lnTo>
                  <a:lnTo>
                    <a:pt x="943" y="3670"/>
                  </a:lnTo>
                  <a:lnTo>
                    <a:pt x="808" y="3637"/>
                  </a:lnTo>
                  <a:lnTo>
                    <a:pt x="707" y="3569"/>
                  </a:lnTo>
                  <a:lnTo>
                    <a:pt x="606" y="3502"/>
                  </a:lnTo>
                  <a:lnTo>
                    <a:pt x="539" y="3435"/>
                  </a:lnTo>
                  <a:lnTo>
                    <a:pt x="404" y="3233"/>
                  </a:lnTo>
                  <a:lnTo>
                    <a:pt x="371" y="2997"/>
                  </a:lnTo>
                  <a:lnTo>
                    <a:pt x="371" y="2728"/>
                  </a:lnTo>
                  <a:lnTo>
                    <a:pt x="404" y="2492"/>
                  </a:lnTo>
                  <a:lnTo>
                    <a:pt x="472" y="2256"/>
                  </a:lnTo>
                  <a:lnTo>
                    <a:pt x="539" y="2054"/>
                  </a:lnTo>
                  <a:lnTo>
                    <a:pt x="640" y="1886"/>
                  </a:lnTo>
                  <a:lnTo>
                    <a:pt x="775" y="1751"/>
                  </a:lnTo>
                  <a:lnTo>
                    <a:pt x="1044" y="1482"/>
                  </a:lnTo>
                  <a:lnTo>
                    <a:pt x="1347" y="1213"/>
                  </a:lnTo>
                  <a:lnTo>
                    <a:pt x="1684" y="1011"/>
                  </a:lnTo>
                  <a:lnTo>
                    <a:pt x="1953" y="842"/>
                  </a:lnTo>
                  <a:lnTo>
                    <a:pt x="2256" y="775"/>
                  </a:lnTo>
                  <a:close/>
                  <a:moveTo>
                    <a:pt x="6229" y="1"/>
                  </a:moveTo>
                  <a:lnTo>
                    <a:pt x="5892" y="34"/>
                  </a:lnTo>
                  <a:lnTo>
                    <a:pt x="5556" y="102"/>
                  </a:lnTo>
                  <a:lnTo>
                    <a:pt x="5219" y="203"/>
                  </a:lnTo>
                  <a:lnTo>
                    <a:pt x="4882" y="371"/>
                  </a:lnTo>
                  <a:lnTo>
                    <a:pt x="4579" y="539"/>
                  </a:lnTo>
                  <a:lnTo>
                    <a:pt x="4242" y="775"/>
                  </a:lnTo>
                  <a:lnTo>
                    <a:pt x="3939" y="1011"/>
                  </a:lnTo>
                  <a:lnTo>
                    <a:pt x="3670" y="1246"/>
                  </a:lnTo>
                  <a:lnTo>
                    <a:pt x="3569" y="1078"/>
                  </a:lnTo>
                  <a:lnTo>
                    <a:pt x="3502" y="943"/>
                  </a:lnTo>
                  <a:lnTo>
                    <a:pt x="3401" y="809"/>
                  </a:lnTo>
                  <a:lnTo>
                    <a:pt x="3266" y="674"/>
                  </a:lnTo>
                  <a:lnTo>
                    <a:pt x="3131" y="573"/>
                  </a:lnTo>
                  <a:lnTo>
                    <a:pt x="2997" y="506"/>
                  </a:lnTo>
                  <a:lnTo>
                    <a:pt x="2828" y="438"/>
                  </a:lnTo>
                  <a:lnTo>
                    <a:pt x="2626" y="371"/>
                  </a:lnTo>
                  <a:lnTo>
                    <a:pt x="2391" y="371"/>
                  </a:lnTo>
                  <a:lnTo>
                    <a:pt x="2121" y="405"/>
                  </a:lnTo>
                  <a:lnTo>
                    <a:pt x="1886" y="506"/>
                  </a:lnTo>
                  <a:lnTo>
                    <a:pt x="1616" y="607"/>
                  </a:lnTo>
                  <a:lnTo>
                    <a:pt x="1414" y="741"/>
                  </a:lnTo>
                  <a:lnTo>
                    <a:pt x="1179" y="910"/>
                  </a:lnTo>
                  <a:lnTo>
                    <a:pt x="775" y="1246"/>
                  </a:lnTo>
                  <a:lnTo>
                    <a:pt x="505" y="1516"/>
                  </a:lnTo>
                  <a:lnTo>
                    <a:pt x="270" y="1852"/>
                  </a:lnTo>
                  <a:lnTo>
                    <a:pt x="101" y="2223"/>
                  </a:lnTo>
                  <a:lnTo>
                    <a:pt x="34" y="2627"/>
                  </a:lnTo>
                  <a:lnTo>
                    <a:pt x="0" y="2795"/>
                  </a:lnTo>
                  <a:lnTo>
                    <a:pt x="0" y="2997"/>
                  </a:lnTo>
                  <a:lnTo>
                    <a:pt x="34" y="3165"/>
                  </a:lnTo>
                  <a:lnTo>
                    <a:pt x="101" y="3334"/>
                  </a:lnTo>
                  <a:lnTo>
                    <a:pt x="202" y="3502"/>
                  </a:lnTo>
                  <a:lnTo>
                    <a:pt x="303" y="3670"/>
                  </a:lnTo>
                  <a:lnTo>
                    <a:pt x="438" y="3805"/>
                  </a:lnTo>
                  <a:lnTo>
                    <a:pt x="640" y="3906"/>
                  </a:lnTo>
                  <a:lnTo>
                    <a:pt x="1583" y="3906"/>
                  </a:lnTo>
                  <a:lnTo>
                    <a:pt x="1751" y="3771"/>
                  </a:lnTo>
                  <a:lnTo>
                    <a:pt x="1919" y="3637"/>
                  </a:lnTo>
                  <a:lnTo>
                    <a:pt x="2222" y="3334"/>
                  </a:lnTo>
                  <a:lnTo>
                    <a:pt x="2795" y="2728"/>
                  </a:lnTo>
                  <a:lnTo>
                    <a:pt x="3367" y="2088"/>
                  </a:lnTo>
                  <a:lnTo>
                    <a:pt x="3333" y="2189"/>
                  </a:lnTo>
                  <a:lnTo>
                    <a:pt x="3300" y="2425"/>
                  </a:lnTo>
                  <a:lnTo>
                    <a:pt x="3199" y="2627"/>
                  </a:lnTo>
                  <a:lnTo>
                    <a:pt x="2997" y="3064"/>
                  </a:lnTo>
                  <a:lnTo>
                    <a:pt x="2727" y="3502"/>
                  </a:lnTo>
                  <a:lnTo>
                    <a:pt x="2424" y="3906"/>
                  </a:lnTo>
                  <a:lnTo>
                    <a:pt x="2828" y="3906"/>
                  </a:lnTo>
                  <a:lnTo>
                    <a:pt x="2997" y="3670"/>
                  </a:lnTo>
                  <a:lnTo>
                    <a:pt x="3266" y="3233"/>
                  </a:lnTo>
                  <a:lnTo>
                    <a:pt x="3535" y="2761"/>
                  </a:lnTo>
                  <a:lnTo>
                    <a:pt x="3636" y="2492"/>
                  </a:lnTo>
                  <a:lnTo>
                    <a:pt x="3704" y="2223"/>
                  </a:lnTo>
                  <a:lnTo>
                    <a:pt x="3737" y="1987"/>
                  </a:lnTo>
                  <a:lnTo>
                    <a:pt x="3737" y="1718"/>
                  </a:lnTo>
                  <a:lnTo>
                    <a:pt x="4343" y="1213"/>
                  </a:lnTo>
                  <a:lnTo>
                    <a:pt x="4647" y="1011"/>
                  </a:lnTo>
                  <a:lnTo>
                    <a:pt x="4950" y="775"/>
                  </a:lnTo>
                  <a:lnTo>
                    <a:pt x="5286" y="607"/>
                  </a:lnTo>
                  <a:lnTo>
                    <a:pt x="5623" y="438"/>
                  </a:lnTo>
                  <a:lnTo>
                    <a:pt x="5859" y="371"/>
                  </a:lnTo>
                  <a:lnTo>
                    <a:pt x="6094" y="337"/>
                  </a:lnTo>
                  <a:lnTo>
                    <a:pt x="6330" y="371"/>
                  </a:lnTo>
                  <a:lnTo>
                    <a:pt x="6566" y="405"/>
                  </a:lnTo>
                  <a:lnTo>
                    <a:pt x="7003" y="573"/>
                  </a:lnTo>
                  <a:lnTo>
                    <a:pt x="7441" y="775"/>
                  </a:lnTo>
                  <a:lnTo>
                    <a:pt x="8114" y="1145"/>
                  </a:lnTo>
                  <a:lnTo>
                    <a:pt x="8754" y="1549"/>
                  </a:lnTo>
                  <a:lnTo>
                    <a:pt x="9394" y="1987"/>
                  </a:lnTo>
                  <a:lnTo>
                    <a:pt x="10000" y="2492"/>
                  </a:lnTo>
                  <a:lnTo>
                    <a:pt x="10370" y="2829"/>
                  </a:lnTo>
                  <a:lnTo>
                    <a:pt x="10740" y="3199"/>
                  </a:lnTo>
                  <a:lnTo>
                    <a:pt x="11111" y="3569"/>
                  </a:lnTo>
                  <a:lnTo>
                    <a:pt x="11515" y="3906"/>
                  </a:lnTo>
                  <a:lnTo>
                    <a:pt x="12255" y="3906"/>
                  </a:lnTo>
                  <a:lnTo>
                    <a:pt x="12020" y="3771"/>
                  </a:lnTo>
                  <a:lnTo>
                    <a:pt x="11784" y="3603"/>
                  </a:lnTo>
                  <a:lnTo>
                    <a:pt x="11313" y="3233"/>
                  </a:lnTo>
                  <a:lnTo>
                    <a:pt x="10572" y="2526"/>
                  </a:lnTo>
                  <a:lnTo>
                    <a:pt x="10101" y="2122"/>
                  </a:lnTo>
                  <a:lnTo>
                    <a:pt x="9629" y="1718"/>
                  </a:lnTo>
                  <a:lnTo>
                    <a:pt x="9091" y="1347"/>
                  </a:lnTo>
                  <a:lnTo>
                    <a:pt x="8586" y="1011"/>
                  </a:lnTo>
                  <a:lnTo>
                    <a:pt x="8047" y="674"/>
                  </a:lnTo>
                  <a:lnTo>
                    <a:pt x="7475" y="371"/>
                  </a:lnTo>
                  <a:lnTo>
                    <a:pt x="7172" y="203"/>
                  </a:lnTo>
                  <a:lnTo>
                    <a:pt x="6869" y="102"/>
                  </a:lnTo>
                  <a:lnTo>
                    <a:pt x="6532" y="34"/>
                  </a:lnTo>
                  <a:lnTo>
                    <a:pt x="622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1" name="Google Shape;721;p5"/>
            <p:cNvSpPr/>
            <p:nvPr/>
          </p:nvSpPr>
          <p:spPr>
            <a:xfrm>
              <a:off x="5332602" y="4691777"/>
              <a:ext cx="114094" cy="107417"/>
            </a:xfrm>
            <a:custGeom>
              <a:avLst/>
              <a:gdLst/>
              <a:ahLst/>
              <a:cxnLst/>
              <a:rect l="l" t="t" r="r" b="b"/>
              <a:pathLst>
                <a:path w="2290" h="2156" extrusionOk="0">
                  <a:moveTo>
                    <a:pt x="0" y="0"/>
                  </a:moveTo>
                  <a:lnTo>
                    <a:pt x="0" y="34"/>
                  </a:lnTo>
                  <a:lnTo>
                    <a:pt x="68" y="202"/>
                  </a:lnTo>
                  <a:lnTo>
                    <a:pt x="202" y="337"/>
                  </a:lnTo>
                  <a:lnTo>
                    <a:pt x="438" y="606"/>
                  </a:lnTo>
                  <a:lnTo>
                    <a:pt x="1010" y="1078"/>
                  </a:lnTo>
                  <a:lnTo>
                    <a:pt x="1549" y="1583"/>
                  </a:lnTo>
                  <a:lnTo>
                    <a:pt x="2088" y="2121"/>
                  </a:lnTo>
                  <a:lnTo>
                    <a:pt x="2155" y="2155"/>
                  </a:lnTo>
                  <a:lnTo>
                    <a:pt x="2223" y="2121"/>
                  </a:lnTo>
                  <a:lnTo>
                    <a:pt x="2290" y="2054"/>
                  </a:lnTo>
                  <a:lnTo>
                    <a:pt x="2290" y="2020"/>
                  </a:lnTo>
                  <a:lnTo>
                    <a:pt x="2256" y="1987"/>
                  </a:lnTo>
                  <a:lnTo>
                    <a:pt x="2021" y="1684"/>
                  </a:lnTo>
                  <a:lnTo>
                    <a:pt x="1751" y="1414"/>
                  </a:lnTo>
                  <a:lnTo>
                    <a:pt x="1179" y="909"/>
                  </a:lnTo>
                  <a:lnTo>
                    <a:pt x="640" y="404"/>
                  </a:lnTo>
                  <a:lnTo>
                    <a:pt x="337" y="169"/>
                  </a:lnTo>
                  <a:lnTo>
                    <a:pt x="202" y="68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2" name="Google Shape;722;p5"/>
            <p:cNvSpPr/>
            <p:nvPr/>
          </p:nvSpPr>
          <p:spPr>
            <a:xfrm>
              <a:off x="5191704" y="4493833"/>
              <a:ext cx="781715" cy="659251"/>
            </a:xfrm>
            <a:custGeom>
              <a:avLst/>
              <a:gdLst/>
              <a:ahLst/>
              <a:cxnLst/>
              <a:rect l="l" t="t" r="r" b="b"/>
              <a:pathLst>
                <a:path w="15690" h="13232" extrusionOk="0">
                  <a:moveTo>
                    <a:pt x="2929" y="640"/>
                  </a:moveTo>
                  <a:lnTo>
                    <a:pt x="3131" y="943"/>
                  </a:lnTo>
                  <a:lnTo>
                    <a:pt x="3165" y="977"/>
                  </a:lnTo>
                  <a:lnTo>
                    <a:pt x="3098" y="977"/>
                  </a:lnTo>
                  <a:lnTo>
                    <a:pt x="3030" y="909"/>
                  </a:lnTo>
                  <a:lnTo>
                    <a:pt x="2997" y="808"/>
                  </a:lnTo>
                  <a:lnTo>
                    <a:pt x="2929" y="640"/>
                  </a:lnTo>
                  <a:close/>
                  <a:moveTo>
                    <a:pt x="2458" y="270"/>
                  </a:moveTo>
                  <a:lnTo>
                    <a:pt x="2626" y="337"/>
                  </a:lnTo>
                  <a:lnTo>
                    <a:pt x="2593" y="371"/>
                  </a:lnTo>
                  <a:lnTo>
                    <a:pt x="2626" y="573"/>
                  </a:lnTo>
                  <a:lnTo>
                    <a:pt x="2694" y="808"/>
                  </a:lnTo>
                  <a:lnTo>
                    <a:pt x="2761" y="1044"/>
                  </a:lnTo>
                  <a:lnTo>
                    <a:pt x="2828" y="1112"/>
                  </a:lnTo>
                  <a:lnTo>
                    <a:pt x="2896" y="1179"/>
                  </a:lnTo>
                  <a:lnTo>
                    <a:pt x="3064" y="1280"/>
                  </a:lnTo>
                  <a:lnTo>
                    <a:pt x="3266" y="1381"/>
                  </a:lnTo>
                  <a:lnTo>
                    <a:pt x="3502" y="1448"/>
                  </a:lnTo>
                  <a:lnTo>
                    <a:pt x="3603" y="1448"/>
                  </a:lnTo>
                  <a:lnTo>
                    <a:pt x="3670" y="1415"/>
                  </a:lnTo>
                  <a:lnTo>
                    <a:pt x="3704" y="1448"/>
                  </a:lnTo>
                  <a:lnTo>
                    <a:pt x="3737" y="1650"/>
                  </a:lnTo>
                  <a:lnTo>
                    <a:pt x="3737" y="1920"/>
                  </a:lnTo>
                  <a:lnTo>
                    <a:pt x="3704" y="1886"/>
                  </a:lnTo>
                  <a:lnTo>
                    <a:pt x="3434" y="1852"/>
                  </a:lnTo>
                  <a:lnTo>
                    <a:pt x="3300" y="1852"/>
                  </a:lnTo>
                  <a:lnTo>
                    <a:pt x="3165" y="1785"/>
                  </a:lnTo>
                  <a:lnTo>
                    <a:pt x="3064" y="1751"/>
                  </a:lnTo>
                  <a:lnTo>
                    <a:pt x="2963" y="1718"/>
                  </a:lnTo>
                  <a:lnTo>
                    <a:pt x="2862" y="1684"/>
                  </a:lnTo>
                  <a:lnTo>
                    <a:pt x="2761" y="1617"/>
                  </a:lnTo>
                  <a:lnTo>
                    <a:pt x="2593" y="1482"/>
                  </a:lnTo>
                  <a:lnTo>
                    <a:pt x="2391" y="1280"/>
                  </a:lnTo>
                  <a:lnTo>
                    <a:pt x="2189" y="1044"/>
                  </a:lnTo>
                  <a:lnTo>
                    <a:pt x="2121" y="909"/>
                  </a:lnTo>
                  <a:lnTo>
                    <a:pt x="2054" y="741"/>
                  </a:lnTo>
                  <a:lnTo>
                    <a:pt x="1987" y="438"/>
                  </a:lnTo>
                  <a:lnTo>
                    <a:pt x="2054" y="438"/>
                  </a:lnTo>
                  <a:lnTo>
                    <a:pt x="2088" y="404"/>
                  </a:lnTo>
                  <a:lnTo>
                    <a:pt x="2121" y="337"/>
                  </a:lnTo>
                  <a:lnTo>
                    <a:pt x="2189" y="303"/>
                  </a:lnTo>
                  <a:lnTo>
                    <a:pt x="2290" y="270"/>
                  </a:lnTo>
                  <a:close/>
                  <a:moveTo>
                    <a:pt x="1886" y="371"/>
                  </a:moveTo>
                  <a:lnTo>
                    <a:pt x="1919" y="404"/>
                  </a:lnTo>
                  <a:lnTo>
                    <a:pt x="1886" y="573"/>
                  </a:lnTo>
                  <a:lnTo>
                    <a:pt x="1886" y="741"/>
                  </a:lnTo>
                  <a:lnTo>
                    <a:pt x="1919" y="909"/>
                  </a:lnTo>
                  <a:lnTo>
                    <a:pt x="1987" y="1078"/>
                  </a:lnTo>
                  <a:lnTo>
                    <a:pt x="2222" y="1381"/>
                  </a:lnTo>
                  <a:lnTo>
                    <a:pt x="2458" y="1650"/>
                  </a:lnTo>
                  <a:lnTo>
                    <a:pt x="2593" y="1751"/>
                  </a:lnTo>
                  <a:lnTo>
                    <a:pt x="2694" y="1852"/>
                  </a:lnTo>
                  <a:lnTo>
                    <a:pt x="2795" y="1886"/>
                  </a:lnTo>
                  <a:lnTo>
                    <a:pt x="2929" y="1920"/>
                  </a:lnTo>
                  <a:lnTo>
                    <a:pt x="3030" y="1953"/>
                  </a:lnTo>
                  <a:lnTo>
                    <a:pt x="3131" y="1987"/>
                  </a:lnTo>
                  <a:lnTo>
                    <a:pt x="3266" y="2054"/>
                  </a:lnTo>
                  <a:lnTo>
                    <a:pt x="3434" y="2088"/>
                  </a:lnTo>
                  <a:lnTo>
                    <a:pt x="3569" y="2054"/>
                  </a:lnTo>
                  <a:lnTo>
                    <a:pt x="3737" y="1987"/>
                  </a:lnTo>
                  <a:lnTo>
                    <a:pt x="3704" y="2189"/>
                  </a:lnTo>
                  <a:lnTo>
                    <a:pt x="3670" y="2391"/>
                  </a:lnTo>
                  <a:lnTo>
                    <a:pt x="3603" y="2593"/>
                  </a:lnTo>
                  <a:lnTo>
                    <a:pt x="3502" y="2795"/>
                  </a:lnTo>
                  <a:lnTo>
                    <a:pt x="3401" y="2963"/>
                  </a:lnTo>
                  <a:lnTo>
                    <a:pt x="3300" y="3132"/>
                  </a:lnTo>
                  <a:lnTo>
                    <a:pt x="3131" y="3266"/>
                  </a:lnTo>
                  <a:lnTo>
                    <a:pt x="2997" y="3367"/>
                  </a:lnTo>
                  <a:lnTo>
                    <a:pt x="2963" y="3401"/>
                  </a:lnTo>
                  <a:lnTo>
                    <a:pt x="2997" y="3435"/>
                  </a:lnTo>
                  <a:lnTo>
                    <a:pt x="3165" y="3435"/>
                  </a:lnTo>
                  <a:lnTo>
                    <a:pt x="3300" y="3401"/>
                  </a:lnTo>
                  <a:lnTo>
                    <a:pt x="3535" y="3805"/>
                  </a:lnTo>
                  <a:lnTo>
                    <a:pt x="3805" y="4175"/>
                  </a:lnTo>
                  <a:lnTo>
                    <a:pt x="4377" y="4916"/>
                  </a:lnTo>
                  <a:lnTo>
                    <a:pt x="4680" y="5253"/>
                  </a:lnTo>
                  <a:lnTo>
                    <a:pt x="5051" y="5522"/>
                  </a:lnTo>
                  <a:lnTo>
                    <a:pt x="5286" y="5724"/>
                  </a:lnTo>
                  <a:lnTo>
                    <a:pt x="5488" y="5926"/>
                  </a:lnTo>
                  <a:lnTo>
                    <a:pt x="5892" y="6397"/>
                  </a:lnTo>
                  <a:lnTo>
                    <a:pt x="5791" y="6532"/>
                  </a:lnTo>
                  <a:lnTo>
                    <a:pt x="5724" y="6667"/>
                  </a:lnTo>
                  <a:lnTo>
                    <a:pt x="5623" y="6835"/>
                  </a:lnTo>
                  <a:lnTo>
                    <a:pt x="5556" y="7003"/>
                  </a:lnTo>
                  <a:lnTo>
                    <a:pt x="5421" y="6902"/>
                  </a:lnTo>
                  <a:lnTo>
                    <a:pt x="5253" y="6835"/>
                  </a:lnTo>
                  <a:lnTo>
                    <a:pt x="5051" y="6734"/>
                  </a:lnTo>
                  <a:lnTo>
                    <a:pt x="4882" y="6633"/>
                  </a:lnTo>
                  <a:lnTo>
                    <a:pt x="4579" y="6397"/>
                  </a:lnTo>
                  <a:lnTo>
                    <a:pt x="4310" y="6162"/>
                  </a:lnTo>
                  <a:lnTo>
                    <a:pt x="4040" y="5859"/>
                  </a:lnTo>
                  <a:lnTo>
                    <a:pt x="3064" y="4748"/>
                  </a:lnTo>
                  <a:lnTo>
                    <a:pt x="2727" y="4276"/>
                  </a:lnTo>
                  <a:lnTo>
                    <a:pt x="2525" y="4074"/>
                  </a:lnTo>
                  <a:lnTo>
                    <a:pt x="2290" y="3872"/>
                  </a:lnTo>
                  <a:lnTo>
                    <a:pt x="2525" y="3805"/>
                  </a:lnTo>
                  <a:lnTo>
                    <a:pt x="2559" y="3771"/>
                  </a:lnTo>
                  <a:lnTo>
                    <a:pt x="2593" y="3738"/>
                  </a:lnTo>
                  <a:lnTo>
                    <a:pt x="2559" y="3637"/>
                  </a:lnTo>
                  <a:lnTo>
                    <a:pt x="2492" y="3603"/>
                  </a:lnTo>
                  <a:lnTo>
                    <a:pt x="2458" y="3569"/>
                  </a:lnTo>
                  <a:lnTo>
                    <a:pt x="2391" y="3603"/>
                  </a:lnTo>
                  <a:lnTo>
                    <a:pt x="2222" y="3670"/>
                  </a:lnTo>
                  <a:lnTo>
                    <a:pt x="2054" y="3704"/>
                  </a:lnTo>
                  <a:lnTo>
                    <a:pt x="1886" y="3704"/>
                  </a:lnTo>
                  <a:lnTo>
                    <a:pt x="1717" y="3670"/>
                  </a:lnTo>
                  <a:lnTo>
                    <a:pt x="1347" y="3569"/>
                  </a:lnTo>
                  <a:lnTo>
                    <a:pt x="1044" y="3435"/>
                  </a:lnTo>
                  <a:lnTo>
                    <a:pt x="808" y="3300"/>
                  </a:lnTo>
                  <a:lnTo>
                    <a:pt x="606" y="3165"/>
                  </a:lnTo>
                  <a:lnTo>
                    <a:pt x="438" y="2997"/>
                  </a:lnTo>
                  <a:lnTo>
                    <a:pt x="337" y="2795"/>
                  </a:lnTo>
                  <a:lnTo>
                    <a:pt x="270" y="2593"/>
                  </a:lnTo>
                  <a:lnTo>
                    <a:pt x="270" y="2357"/>
                  </a:lnTo>
                  <a:lnTo>
                    <a:pt x="270" y="2122"/>
                  </a:lnTo>
                  <a:lnTo>
                    <a:pt x="303" y="1886"/>
                  </a:lnTo>
                  <a:lnTo>
                    <a:pt x="404" y="1617"/>
                  </a:lnTo>
                  <a:lnTo>
                    <a:pt x="573" y="1381"/>
                  </a:lnTo>
                  <a:lnTo>
                    <a:pt x="741" y="1179"/>
                  </a:lnTo>
                  <a:lnTo>
                    <a:pt x="943" y="977"/>
                  </a:lnTo>
                  <a:lnTo>
                    <a:pt x="1179" y="808"/>
                  </a:lnTo>
                  <a:lnTo>
                    <a:pt x="1414" y="640"/>
                  </a:lnTo>
                  <a:lnTo>
                    <a:pt x="1886" y="371"/>
                  </a:lnTo>
                  <a:close/>
                  <a:moveTo>
                    <a:pt x="2290" y="0"/>
                  </a:moveTo>
                  <a:lnTo>
                    <a:pt x="2189" y="34"/>
                  </a:lnTo>
                  <a:lnTo>
                    <a:pt x="2054" y="68"/>
                  </a:lnTo>
                  <a:lnTo>
                    <a:pt x="1987" y="169"/>
                  </a:lnTo>
                  <a:lnTo>
                    <a:pt x="1616" y="303"/>
                  </a:lnTo>
                  <a:lnTo>
                    <a:pt x="1246" y="505"/>
                  </a:lnTo>
                  <a:lnTo>
                    <a:pt x="909" y="741"/>
                  </a:lnTo>
                  <a:lnTo>
                    <a:pt x="573" y="1011"/>
                  </a:lnTo>
                  <a:lnTo>
                    <a:pt x="303" y="1347"/>
                  </a:lnTo>
                  <a:lnTo>
                    <a:pt x="202" y="1516"/>
                  </a:lnTo>
                  <a:lnTo>
                    <a:pt x="135" y="1684"/>
                  </a:lnTo>
                  <a:lnTo>
                    <a:pt x="68" y="1886"/>
                  </a:lnTo>
                  <a:lnTo>
                    <a:pt x="0" y="2088"/>
                  </a:lnTo>
                  <a:lnTo>
                    <a:pt x="0" y="2256"/>
                  </a:lnTo>
                  <a:lnTo>
                    <a:pt x="0" y="2458"/>
                  </a:lnTo>
                  <a:lnTo>
                    <a:pt x="68" y="2660"/>
                  </a:lnTo>
                  <a:lnTo>
                    <a:pt x="101" y="2829"/>
                  </a:lnTo>
                  <a:lnTo>
                    <a:pt x="202" y="2963"/>
                  </a:lnTo>
                  <a:lnTo>
                    <a:pt x="303" y="3132"/>
                  </a:lnTo>
                  <a:lnTo>
                    <a:pt x="539" y="3401"/>
                  </a:lnTo>
                  <a:lnTo>
                    <a:pt x="842" y="3603"/>
                  </a:lnTo>
                  <a:lnTo>
                    <a:pt x="1145" y="3805"/>
                  </a:lnTo>
                  <a:lnTo>
                    <a:pt x="1515" y="3906"/>
                  </a:lnTo>
                  <a:lnTo>
                    <a:pt x="1886" y="3940"/>
                  </a:lnTo>
                  <a:lnTo>
                    <a:pt x="2054" y="3940"/>
                  </a:lnTo>
                  <a:lnTo>
                    <a:pt x="2222" y="3906"/>
                  </a:lnTo>
                  <a:lnTo>
                    <a:pt x="2357" y="4175"/>
                  </a:lnTo>
                  <a:lnTo>
                    <a:pt x="2492" y="4445"/>
                  </a:lnTo>
                  <a:lnTo>
                    <a:pt x="2660" y="4680"/>
                  </a:lnTo>
                  <a:lnTo>
                    <a:pt x="2862" y="4950"/>
                  </a:lnTo>
                  <a:lnTo>
                    <a:pt x="3300" y="5421"/>
                  </a:lnTo>
                  <a:lnTo>
                    <a:pt x="3737" y="5825"/>
                  </a:lnTo>
                  <a:lnTo>
                    <a:pt x="4175" y="6330"/>
                  </a:lnTo>
                  <a:lnTo>
                    <a:pt x="4680" y="6801"/>
                  </a:lnTo>
                  <a:lnTo>
                    <a:pt x="4882" y="6936"/>
                  </a:lnTo>
                  <a:lnTo>
                    <a:pt x="5084" y="7037"/>
                  </a:lnTo>
                  <a:lnTo>
                    <a:pt x="5320" y="7138"/>
                  </a:lnTo>
                  <a:lnTo>
                    <a:pt x="5522" y="7273"/>
                  </a:lnTo>
                  <a:lnTo>
                    <a:pt x="5589" y="7306"/>
                  </a:lnTo>
                  <a:lnTo>
                    <a:pt x="5657" y="7273"/>
                  </a:lnTo>
                  <a:lnTo>
                    <a:pt x="5690" y="7239"/>
                  </a:lnTo>
                  <a:lnTo>
                    <a:pt x="5724" y="7172"/>
                  </a:lnTo>
                  <a:lnTo>
                    <a:pt x="5791" y="7003"/>
                  </a:lnTo>
                  <a:lnTo>
                    <a:pt x="5892" y="6869"/>
                  </a:lnTo>
                  <a:lnTo>
                    <a:pt x="7003" y="7710"/>
                  </a:lnTo>
                  <a:lnTo>
                    <a:pt x="8148" y="8485"/>
                  </a:lnTo>
                  <a:lnTo>
                    <a:pt x="8720" y="8855"/>
                  </a:lnTo>
                  <a:lnTo>
                    <a:pt x="9326" y="9226"/>
                  </a:lnTo>
                  <a:lnTo>
                    <a:pt x="9932" y="9562"/>
                  </a:lnTo>
                  <a:lnTo>
                    <a:pt x="10572" y="9865"/>
                  </a:lnTo>
                  <a:lnTo>
                    <a:pt x="11279" y="10135"/>
                  </a:lnTo>
                  <a:lnTo>
                    <a:pt x="11986" y="10370"/>
                  </a:lnTo>
                  <a:lnTo>
                    <a:pt x="12727" y="10606"/>
                  </a:lnTo>
                  <a:lnTo>
                    <a:pt x="13400" y="10875"/>
                  </a:lnTo>
                  <a:lnTo>
                    <a:pt x="13737" y="11044"/>
                  </a:lnTo>
                  <a:lnTo>
                    <a:pt x="14040" y="11212"/>
                  </a:lnTo>
                  <a:lnTo>
                    <a:pt x="14309" y="11448"/>
                  </a:lnTo>
                  <a:lnTo>
                    <a:pt x="14579" y="11683"/>
                  </a:lnTo>
                  <a:lnTo>
                    <a:pt x="14814" y="11953"/>
                  </a:lnTo>
                  <a:lnTo>
                    <a:pt x="14983" y="12256"/>
                  </a:lnTo>
                  <a:lnTo>
                    <a:pt x="15151" y="12592"/>
                  </a:lnTo>
                  <a:lnTo>
                    <a:pt x="15286" y="12996"/>
                  </a:lnTo>
                  <a:lnTo>
                    <a:pt x="15353" y="13232"/>
                  </a:lnTo>
                  <a:lnTo>
                    <a:pt x="15690" y="13232"/>
                  </a:lnTo>
                  <a:lnTo>
                    <a:pt x="15622" y="12895"/>
                  </a:lnTo>
                  <a:lnTo>
                    <a:pt x="15521" y="12592"/>
                  </a:lnTo>
                  <a:lnTo>
                    <a:pt x="15420" y="12323"/>
                  </a:lnTo>
                  <a:lnTo>
                    <a:pt x="15286" y="12054"/>
                  </a:lnTo>
                  <a:lnTo>
                    <a:pt x="15151" y="11818"/>
                  </a:lnTo>
                  <a:lnTo>
                    <a:pt x="14983" y="11616"/>
                  </a:lnTo>
                  <a:lnTo>
                    <a:pt x="14814" y="11414"/>
                  </a:lnTo>
                  <a:lnTo>
                    <a:pt x="14612" y="11212"/>
                  </a:lnTo>
                  <a:lnTo>
                    <a:pt x="14377" y="11044"/>
                  </a:lnTo>
                  <a:lnTo>
                    <a:pt x="13939" y="10741"/>
                  </a:lnTo>
                  <a:lnTo>
                    <a:pt x="13400" y="10505"/>
                  </a:lnTo>
                  <a:lnTo>
                    <a:pt x="12862" y="10303"/>
                  </a:lnTo>
                  <a:lnTo>
                    <a:pt x="12289" y="10101"/>
                  </a:lnTo>
                  <a:lnTo>
                    <a:pt x="11548" y="9865"/>
                  </a:lnTo>
                  <a:lnTo>
                    <a:pt x="10841" y="9562"/>
                  </a:lnTo>
                  <a:lnTo>
                    <a:pt x="10168" y="9259"/>
                  </a:lnTo>
                  <a:lnTo>
                    <a:pt x="9495" y="8922"/>
                  </a:lnTo>
                  <a:lnTo>
                    <a:pt x="8855" y="8552"/>
                  </a:lnTo>
                  <a:lnTo>
                    <a:pt x="8182" y="8148"/>
                  </a:lnTo>
                  <a:lnTo>
                    <a:pt x="6936" y="7306"/>
                  </a:lnTo>
                  <a:lnTo>
                    <a:pt x="6027" y="6667"/>
                  </a:lnTo>
                  <a:lnTo>
                    <a:pt x="6094" y="6532"/>
                  </a:lnTo>
                  <a:lnTo>
                    <a:pt x="6162" y="6364"/>
                  </a:lnTo>
                  <a:lnTo>
                    <a:pt x="6162" y="6330"/>
                  </a:lnTo>
                  <a:lnTo>
                    <a:pt x="6128" y="6296"/>
                  </a:lnTo>
                  <a:lnTo>
                    <a:pt x="6027" y="6296"/>
                  </a:lnTo>
                  <a:lnTo>
                    <a:pt x="5926" y="6061"/>
                  </a:lnTo>
                  <a:lnTo>
                    <a:pt x="5825" y="5892"/>
                  </a:lnTo>
                  <a:lnTo>
                    <a:pt x="5657" y="5724"/>
                  </a:lnTo>
                  <a:lnTo>
                    <a:pt x="5488" y="5556"/>
                  </a:lnTo>
                  <a:lnTo>
                    <a:pt x="5152" y="5286"/>
                  </a:lnTo>
                  <a:lnTo>
                    <a:pt x="4781" y="5017"/>
                  </a:lnTo>
                  <a:lnTo>
                    <a:pt x="4108" y="4108"/>
                  </a:lnTo>
                  <a:lnTo>
                    <a:pt x="3670" y="3569"/>
                  </a:lnTo>
                  <a:lnTo>
                    <a:pt x="3502" y="3401"/>
                  </a:lnTo>
                  <a:lnTo>
                    <a:pt x="3434" y="3367"/>
                  </a:lnTo>
                  <a:lnTo>
                    <a:pt x="3401" y="3367"/>
                  </a:lnTo>
                  <a:lnTo>
                    <a:pt x="3502" y="3266"/>
                  </a:lnTo>
                  <a:lnTo>
                    <a:pt x="3603" y="3165"/>
                  </a:lnTo>
                  <a:lnTo>
                    <a:pt x="3737" y="2930"/>
                  </a:lnTo>
                  <a:lnTo>
                    <a:pt x="3838" y="2593"/>
                  </a:lnTo>
                  <a:lnTo>
                    <a:pt x="3906" y="2256"/>
                  </a:lnTo>
                  <a:lnTo>
                    <a:pt x="3906" y="1920"/>
                  </a:lnTo>
                  <a:lnTo>
                    <a:pt x="3906" y="1583"/>
                  </a:lnTo>
                  <a:lnTo>
                    <a:pt x="3838" y="1280"/>
                  </a:lnTo>
                  <a:lnTo>
                    <a:pt x="3805" y="1044"/>
                  </a:lnTo>
                  <a:lnTo>
                    <a:pt x="3670" y="842"/>
                  </a:lnTo>
                  <a:lnTo>
                    <a:pt x="3502" y="640"/>
                  </a:lnTo>
                  <a:lnTo>
                    <a:pt x="3232" y="438"/>
                  </a:lnTo>
                  <a:lnTo>
                    <a:pt x="2963" y="236"/>
                  </a:lnTo>
                  <a:lnTo>
                    <a:pt x="2694" y="101"/>
                  </a:lnTo>
                  <a:lnTo>
                    <a:pt x="24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3" name="Google Shape;723;p5"/>
            <p:cNvSpPr/>
            <p:nvPr/>
          </p:nvSpPr>
          <p:spPr>
            <a:xfrm>
              <a:off x="6674521" y="5069183"/>
              <a:ext cx="196301" cy="83901"/>
            </a:xfrm>
            <a:custGeom>
              <a:avLst/>
              <a:gdLst/>
              <a:ahLst/>
              <a:cxnLst/>
              <a:rect l="l" t="t" r="r" b="b"/>
              <a:pathLst>
                <a:path w="3940" h="1684" extrusionOk="0">
                  <a:moveTo>
                    <a:pt x="1886" y="1"/>
                  </a:moveTo>
                  <a:lnTo>
                    <a:pt x="1583" y="34"/>
                  </a:lnTo>
                  <a:lnTo>
                    <a:pt x="1348" y="102"/>
                  </a:lnTo>
                  <a:lnTo>
                    <a:pt x="1146" y="203"/>
                  </a:lnTo>
                  <a:lnTo>
                    <a:pt x="977" y="337"/>
                  </a:lnTo>
                  <a:lnTo>
                    <a:pt x="843" y="506"/>
                  </a:lnTo>
                  <a:lnTo>
                    <a:pt x="573" y="910"/>
                  </a:lnTo>
                  <a:lnTo>
                    <a:pt x="338" y="1280"/>
                  </a:lnTo>
                  <a:lnTo>
                    <a:pt x="169" y="1516"/>
                  </a:lnTo>
                  <a:lnTo>
                    <a:pt x="1" y="1684"/>
                  </a:lnTo>
                  <a:lnTo>
                    <a:pt x="506" y="1684"/>
                  </a:lnTo>
                  <a:lnTo>
                    <a:pt x="674" y="1516"/>
                  </a:lnTo>
                  <a:lnTo>
                    <a:pt x="775" y="1347"/>
                  </a:lnTo>
                  <a:lnTo>
                    <a:pt x="1078" y="910"/>
                  </a:lnTo>
                  <a:lnTo>
                    <a:pt x="1247" y="708"/>
                  </a:lnTo>
                  <a:lnTo>
                    <a:pt x="1415" y="573"/>
                  </a:lnTo>
                  <a:lnTo>
                    <a:pt x="1617" y="472"/>
                  </a:lnTo>
                  <a:lnTo>
                    <a:pt x="1853" y="405"/>
                  </a:lnTo>
                  <a:lnTo>
                    <a:pt x="2088" y="405"/>
                  </a:lnTo>
                  <a:lnTo>
                    <a:pt x="2391" y="438"/>
                  </a:lnTo>
                  <a:lnTo>
                    <a:pt x="2795" y="539"/>
                  </a:lnTo>
                  <a:lnTo>
                    <a:pt x="3166" y="674"/>
                  </a:lnTo>
                  <a:lnTo>
                    <a:pt x="3570" y="809"/>
                  </a:lnTo>
                  <a:lnTo>
                    <a:pt x="3940" y="943"/>
                  </a:lnTo>
                  <a:lnTo>
                    <a:pt x="3940" y="539"/>
                  </a:lnTo>
                  <a:lnTo>
                    <a:pt x="3368" y="337"/>
                  </a:lnTo>
                  <a:lnTo>
                    <a:pt x="2762" y="135"/>
                  </a:lnTo>
                  <a:lnTo>
                    <a:pt x="2492" y="68"/>
                  </a:lnTo>
                  <a:lnTo>
                    <a:pt x="218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4" name="Google Shape;724;p5"/>
            <p:cNvSpPr/>
            <p:nvPr/>
          </p:nvSpPr>
          <p:spPr>
            <a:xfrm>
              <a:off x="5243718" y="4597812"/>
              <a:ext cx="45338" cy="43694"/>
            </a:xfrm>
            <a:custGeom>
              <a:avLst/>
              <a:gdLst/>
              <a:ahLst/>
              <a:cxnLst/>
              <a:rect l="l" t="t" r="r" b="b"/>
              <a:pathLst>
                <a:path w="910" h="877" extrusionOk="0">
                  <a:moveTo>
                    <a:pt x="673" y="1"/>
                  </a:moveTo>
                  <a:lnTo>
                    <a:pt x="606" y="35"/>
                  </a:lnTo>
                  <a:lnTo>
                    <a:pt x="303" y="338"/>
                  </a:lnTo>
                  <a:lnTo>
                    <a:pt x="168" y="506"/>
                  </a:lnTo>
                  <a:lnTo>
                    <a:pt x="34" y="641"/>
                  </a:lnTo>
                  <a:lnTo>
                    <a:pt x="0" y="708"/>
                  </a:lnTo>
                  <a:lnTo>
                    <a:pt x="0" y="742"/>
                  </a:lnTo>
                  <a:lnTo>
                    <a:pt x="67" y="843"/>
                  </a:lnTo>
                  <a:lnTo>
                    <a:pt x="135" y="876"/>
                  </a:lnTo>
                  <a:lnTo>
                    <a:pt x="236" y="876"/>
                  </a:lnTo>
                  <a:lnTo>
                    <a:pt x="404" y="742"/>
                  </a:lnTo>
                  <a:lnTo>
                    <a:pt x="539" y="607"/>
                  </a:lnTo>
                  <a:lnTo>
                    <a:pt x="842" y="304"/>
                  </a:lnTo>
                  <a:lnTo>
                    <a:pt x="909" y="237"/>
                  </a:lnTo>
                  <a:lnTo>
                    <a:pt x="909" y="169"/>
                  </a:lnTo>
                  <a:lnTo>
                    <a:pt x="875" y="102"/>
                  </a:lnTo>
                  <a:lnTo>
                    <a:pt x="842" y="68"/>
                  </a:lnTo>
                  <a:lnTo>
                    <a:pt x="77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5" name="Google Shape;725;p5"/>
            <p:cNvSpPr/>
            <p:nvPr/>
          </p:nvSpPr>
          <p:spPr>
            <a:xfrm>
              <a:off x="5460098" y="4067751"/>
              <a:ext cx="1410724" cy="868954"/>
            </a:xfrm>
            <a:custGeom>
              <a:avLst/>
              <a:gdLst/>
              <a:ahLst/>
              <a:cxnLst/>
              <a:rect l="l" t="t" r="r" b="b"/>
              <a:pathLst>
                <a:path w="28315" h="17441" extrusionOk="0">
                  <a:moveTo>
                    <a:pt x="2929" y="1011"/>
                  </a:moveTo>
                  <a:lnTo>
                    <a:pt x="2997" y="1112"/>
                  </a:lnTo>
                  <a:lnTo>
                    <a:pt x="3064" y="1145"/>
                  </a:lnTo>
                  <a:lnTo>
                    <a:pt x="3098" y="1179"/>
                  </a:lnTo>
                  <a:lnTo>
                    <a:pt x="3199" y="1145"/>
                  </a:lnTo>
                  <a:lnTo>
                    <a:pt x="3199" y="1213"/>
                  </a:lnTo>
                  <a:lnTo>
                    <a:pt x="3232" y="1280"/>
                  </a:lnTo>
                  <a:lnTo>
                    <a:pt x="3232" y="1280"/>
                  </a:lnTo>
                  <a:lnTo>
                    <a:pt x="3098" y="1213"/>
                  </a:lnTo>
                  <a:lnTo>
                    <a:pt x="2997" y="1145"/>
                  </a:lnTo>
                  <a:lnTo>
                    <a:pt x="2929" y="1011"/>
                  </a:lnTo>
                  <a:close/>
                  <a:moveTo>
                    <a:pt x="2088" y="236"/>
                  </a:moveTo>
                  <a:lnTo>
                    <a:pt x="2492" y="304"/>
                  </a:lnTo>
                  <a:lnTo>
                    <a:pt x="2492" y="371"/>
                  </a:lnTo>
                  <a:lnTo>
                    <a:pt x="2458" y="472"/>
                  </a:lnTo>
                  <a:lnTo>
                    <a:pt x="2458" y="573"/>
                  </a:lnTo>
                  <a:lnTo>
                    <a:pt x="2492" y="842"/>
                  </a:lnTo>
                  <a:lnTo>
                    <a:pt x="2593" y="1044"/>
                  </a:lnTo>
                  <a:lnTo>
                    <a:pt x="2727" y="1246"/>
                  </a:lnTo>
                  <a:lnTo>
                    <a:pt x="2896" y="1415"/>
                  </a:lnTo>
                  <a:lnTo>
                    <a:pt x="2997" y="1482"/>
                  </a:lnTo>
                  <a:lnTo>
                    <a:pt x="3098" y="1550"/>
                  </a:lnTo>
                  <a:lnTo>
                    <a:pt x="3199" y="1550"/>
                  </a:lnTo>
                  <a:lnTo>
                    <a:pt x="3333" y="1583"/>
                  </a:lnTo>
                  <a:lnTo>
                    <a:pt x="3434" y="1550"/>
                  </a:lnTo>
                  <a:lnTo>
                    <a:pt x="3468" y="1516"/>
                  </a:lnTo>
                  <a:lnTo>
                    <a:pt x="3502" y="1482"/>
                  </a:lnTo>
                  <a:lnTo>
                    <a:pt x="3468" y="1886"/>
                  </a:lnTo>
                  <a:lnTo>
                    <a:pt x="3367" y="2257"/>
                  </a:lnTo>
                  <a:lnTo>
                    <a:pt x="3030" y="2156"/>
                  </a:lnTo>
                  <a:lnTo>
                    <a:pt x="2727" y="2055"/>
                  </a:lnTo>
                  <a:lnTo>
                    <a:pt x="2458" y="1853"/>
                  </a:lnTo>
                  <a:lnTo>
                    <a:pt x="2189" y="1617"/>
                  </a:lnTo>
                  <a:lnTo>
                    <a:pt x="2088" y="1482"/>
                  </a:lnTo>
                  <a:lnTo>
                    <a:pt x="1987" y="1314"/>
                  </a:lnTo>
                  <a:lnTo>
                    <a:pt x="1852" y="977"/>
                  </a:lnTo>
                  <a:lnTo>
                    <a:pt x="1751" y="640"/>
                  </a:lnTo>
                  <a:lnTo>
                    <a:pt x="1684" y="270"/>
                  </a:lnTo>
                  <a:lnTo>
                    <a:pt x="2088" y="236"/>
                  </a:lnTo>
                  <a:close/>
                  <a:moveTo>
                    <a:pt x="1583" y="304"/>
                  </a:moveTo>
                  <a:lnTo>
                    <a:pt x="1583" y="674"/>
                  </a:lnTo>
                  <a:lnTo>
                    <a:pt x="1650" y="1078"/>
                  </a:lnTo>
                  <a:lnTo>
                    <a:pt x="1818" y="1449"/>
                  </a:lnTo>
                  <a:lnTo>
                    <a:pt x="2020" y="1785"/>
                  </a:lnTo>
                  <a:lnTo>
                    <a:pt x="2290" y="2055"/>
                  </a:lnTo>
                  <a:lnTo>
                    <a:pt x="2626" y="2324"/>
                  </a:lnTo>
                  <a:lnTo>
                    <a:pt x="2761" y="2391"/>
                  </a:lnTo>
                  <a:lnTo>
                    <a:pt x="2929" y="2425"/>
                  </a:lnTo>
                  <a:lnTo>
                    <a:pt x="3232" y="2459"/>
                  </a:lnTo>
                  <a:lnTo>
                    <a:pt x="3064" y="2728"/>
                  </a:lnTo>
                  <a:lnTo>
                    <a:pt x="2896" y="2896"/>
                  </a:lnTo>
                  <a:lnTo>
                    <a:pt x="2727" y="2997"/>
                  </a:lnTo>
                  <a:lnTo>
                    <a:pt x="2525" y="3065"/>
                  </a:lnTo>
                  <a:lnTo>
                    <a:pt x="2290" y="3132"/>
                  </a:lnTo>
                  <a:lnTo>
                    <a:pt x="1987" y="3166"/>
                  </a:lnTo>
                  <a:lnTo>
                    <a:pt x="1785" y="3166"/>
                  </a:lnTo>
                  <a:lnTo>
                    <a:pt x="1684" y="3132"/>
                  </a:lnTo>
                  <a:lnTo>
                    <a:pt x="1650" y="3098"/>
                  </a:lnTo>
                  <a:lnTo>
                    <a:pt x="1616" y="3098"/>
                  </a:lnTo>
                  <a:lnTo>
                    <a:pt x="1616" y="3132"/>
                  </a:lnTo>
                  <a:lnTo>
                    <a:pt x="1616" y="3199"/>
                  </a:lnTo>
                  <a:lnTo>
                    <a:pt x="1650" y="3267"/>
                  </a:lnTo>
                  <a:lnTo>
                    <a:pt x="1751" y="3334"/>
                  </a:lnTo>
                  <a:lnTo>
                    <a:pt x="2189" y="3334"/>
                  </a:lnTo>
                  <a:lnTo>
                    <a:pt x="2525" y="3267"/>
                  </a:lnTo>
                  <a:lnTo>
                    <a:pt x="2525" y="3300"/>
                  </a:lnTo>
                  <a:lnTo>
                    <a:pt x="2694" y="3502"/>
                  </a:lnTo>
                  <a:lnTo>
                    <a:pt x="2896" y="3738"/>
                  </a:lnTo>
                  <a:lnTo>
                    <a:pt x="3367" y="4108"/>
                  </a:lnTo>
                  <a:lnTo>
                    <a:pt x="3771" y="4479"/>
                  </a:lnTo>
                  <a:lnTo>
                    <a:pt x="3973" y="4681"/>
                  </a:lnTo>
                  <a:lnTo>
                    <a:pt x="4141" y="4950"/>
                  </a:lnTo>
                  <a:lnTo>
                    <a:pt x="4276" y="5152"/>
                  </a:lnTo>
                  <a:lnTo>
                    <a:pt x="4444" y="5354"/>
                  </a:lnTo>
                  <a:lnTo>
                    <a:pt x="4781" y="5758"/>
                  </a:lnTo>
                  <a:lnTo>
                    <a:pt x="5185" y="6128"/>
                  </a:lnTo>
                  <a:lnTo>
                    <a:pt x="5589" y="6499"/>
                  </a:lnTo>
                  <a:lnTo>
                    <a:pt x="5421" y="6701"/>
                  </a:lnTo>
                  <a:lnTo>
                    <a:pt x="5252" y="6936"/>
                  </a:lnTo>
                  <a:lnTo>
                    <a:pt x="5118" y="7138"/>
                  </a:lnTo>
                  <a:lnTo>
                    <a:pt x="3300" y="5388"/>
                  </a:lnTo>
                  <a:lnTo>
                    <a:pt x="2424" y="4546"/>
                  </a:lnTo>
                  <a:lnTo>
                    <a:pt x="1953" y="4142"/>
                  </a:lnTo>
                  <a:lnTo>
                    <a:pt x="1482" y="3805"/>
                  </a:lnTo>
                  <a:lnTo>
                    <a:pt x="909" y="3469"/>
                  </a:lnTo>
                  <a:lnTo>
                    <a:pt x="674" y="3267"/>
                  </a:lnTo>
                  <a:lnTo>
                    <a:pt x="573" y="3132"/>
                  </a:lnTo>
                  <a:lnTo>
                    <a:pt x="472" y="2997"/>
                  </a:lnTo>
                  <a:lnTo>
                    <a:pt x="371" y="2829"/>
                  </a:lnTo>
                  <a:lnTo>
                    <a:pt x="337" y="2661"/>
                  </a:lnTo>
                  <a:lnTo>
                    <a:pt x="270" y="2290"/>
                  </a:lnTo>
                  <a:lnTo>
                    <a:pt x="270" y="1954"/>
                  </a:lnTo>
                  <a:lnTo>
                    <a:pt x="303" y="1583"/>
                  </a:lnTo>
                  <a:lnTo>
                    <a:pt x="371" y="1314"/>
                  </a:lnTo>
                  <a:lnTo>
                    <a:pt x="472" y="1078"/>
                  </a:lnTo>
                  <a:lnTo>
                    <a:pt x="606" y="876"/>
                  </a:lnTo>
                  <a:lnTo>
                    <a:pt x="775" y="708"/>
                  </a:lnTo>
                  <a:lnTo>
                    <a:pt x="943" y="573"/>
                  </a:lnTo>
                  <a:lnTo>
                    <a:pt x="1145" y="438"/>
                  </a:lnTo>
                  <a:lnTo>
                    <a:pt x="1347" y="337"/>
                  </a:lnTo>
                  <a:lnTo>
                    <a:pt x="1583" y="304"/>
                  </a:lnTo>
                  <a:close/>
                  <a:moveTo>
                    <a:pt x="21548" y="6701"/>
                  </a:moveTo>
                  <a:lnTo>
                    <a:pt x="21682" y="6903"/>
                  </a:lnTo>
                  <a:lnTo>
                    <a:pt x="21548" y="7037"/>
                  </a:lnTo>
                  <a:lnTo>
                    <a:pt x="21447" y="7206"/>
                  </a:lnTo>
                  <a:lnTo>
                    <a:pt x="21346" y="7071"/>
                  </a:lnTo>
                  <a:lnTo>
                    <a:pt x="21278" y="7004"/>
                  </a:lnTo>
                  <a:lnTo>
                    <a:pt x="21413" y="6869"/>
                  </a:lnTo>
                  <a:lnTo>
                    <a:pt x="21480" y="6802"/>
                  </a:lnTo>
                  <a:lnTo>
                    <a:pt x="21514" y="6734"/>
                  </a:lnTo>
                  <a:lnTo>
                    <a:pt x="21548" y="6701"/>
                  </a:lnTo>
                  <a:close/>
                  <a:moveTo>
                    <a:pt x="22086" y="7004"/>
                  </a:moveTo>
                  <a:lnTo>
                    <a:pt x="22288" y="7037"/>
                  </a:lnTo>
                  <a:lnTo>
                    <a:pt x="22490" y="7105"/>
                  </a:lnTo>
                  <a:lnTo>
                    <a:pt x="22692" y="7206"/>
                  </a:lnTo>
                  <a:lnTo>
                    <a:pt x="22894" y="7307"/>
                  </a:lnTo>
                  <a:lnTo>
                    <a:pt x="23063" y="7475"/>
                  </a:lnTo>
                  <a:lnTo>
                    <a:pt x="23770" y="8115"/>
                  </a:lnTo>
                  <a:lnTo>
                    <a:pt x="24477" y="8754"/>
                  </a:lnTo>
                  <a:lnTo>
                    <a:pt x="25117" y="9428"/>
                  </a:lnTo>
                  <a:lnTo>
                    <a:pt x="25723" y="10101"/>
                  </a:lnTo>
                  <a:lnTo>
                    <a:pt x="26295" y="10842"/>
                  </a:lnTo>
                  <a:lnTo>
                    <a:pt x="26800" y="11549"/>
                  </a:lnTo>
                  <a:lnTo>
                    <a:pt x="26733" y="11583"/>
                  </a:lnTo>
                  <a:lnTo>
                    <a:pt x="26699" y="11616"/>
                  </a:lnTo>
                  <a:lnTo>
                    <a:pt x="26665" y="11684"/>
                  </a:lnTo>
                  <a:lnTo>
                    <a:pt x="26665" y="11751"/>
                  </a:lnTo>
                  <a:lnTo>
                    <a:pt x="26699" y="11785"/>
                  </a:lnTo>
                  <a:lnTo>
                    <a:pt x="26733" y="11852"/>
                  </a:lnTo>
                  <a:lnTo>
                    <a:pt x="26800" y="11987"/>
                  </a:lnTo>
                  <a:lnTo>
                    <a:pt x="26564" y="12290"/>
                  </a:lnTo>
                  <a:lnTo>
                    <a:pt x="26531" y="12357"/>
                  </a:lnTo>
                  <a:lnTo>
                    <a:pt x="26463" y="12391"/>
                  </a:lnTo>
                  <a:lnTo>
                    <a:pt x="26329" y="12391"/>
                  </a:lnTo>
                  <a:lnTo>
                    <a:pt x="26160" y="12357"/>
                  </a:lnTo>
                  <a:lnTo>
                    <a:pt x="25992" y="12256"/>
                  </a:lnTo>
                  <a:lnTo>
                    <a:pt x="25655" y="12020"/>
                  </a:lnTo>
                  <a:lnTo>
                    <a:pt x="25453" y="11852"/>
                  </a:lnTo>
                  <a:lnTo>
                    <a:pt x="25083" y="11549"/>
                  </a:lnTo>
                  <a:lnTo>
                    <a:pt x="24746" y="11246"/>
                  </a:lnTo>
                  <a:lnTo>
                    <a:pt x="24107" y="10573"/>
                  </a:lnTo>
                  <a:lnTo>
                    <a:pt x="23433" y="9832"/>
                  </a:lnTo>
                  <a:lnTo>
                    <a:pt x="22793" y="9057"/>
                  </a:lnTo>
                  <a:lnTo>
                    <a:pt x="22120" y="8317"/>
                  </a:lnTo>
                  <a:lnTo>
                    <a:pt x="21783" y="7946"/>
                  </a:lnTo>
                  <a:lnTo>
                    <a:pt x="21413" y="7610"/>
                  </a:lnTo>
                  <a:lnTo>
                    <a:pt x="21548" y="7408"/>
                  </a:lnTo>
                  <a:lnTo>
                    <a:pt x="21716" y="7206"/>
                  </a:lnTo>
                  <a:lnTo>
                    <a:pt x="21884" y="7071"/>
                  </a:lnTo>
                  <a:lnTo>
                    <a:pt x="22086" y="7004"/>
                  </a:lnTo>
                  <a:close/>
                  <a:moveTo>
                    <a:pt x="26935" y="12088"/>
                  </a:moveTo>
                  <a:lnTo>
                    <a:pt x="27271" y="12222"/>
                  </a:lnTo>
                  <a:lnTo>
                    <a:pt x="27406" y="12323"/>
                  </a:lnTo>
                  <a:lnTo>
                    <a:pt x="27507" y="12424"/>
                  </a:lnTo>
                  <a:lnTo>
                    <a:pt x="27339" y="12694"/>
                  </a:lnTo>
                  <a:lnTo>
                    <a:pt x="27137" y="12896"/>
                  </a:lnTo>
                  <a:lnTo>
                    <a:pt x="26800" y="12424"/>
                  </a:lnTo>
                  <a:lnTo>
                    <a:pt x="26867" y="12256"/>
                  </a:lnTo>
                  <a:lnTo>
                    <a:pt x="26935" y="12088"/>
                  </a:lnTo>
                  <a:close/>
                  <a:moveTo>
                    <a:pt x="1650" y="1"/>
                  </a:moveTo>
                  <a:lnTo>
                    <a:pt x="1414" y="68"/>
                  </a:lnTo>
                  <a:lnTo>
                    <a:pt x="1179" y="135"/>
                  </a:lnTo>
                  <a:lnTo>
                    <a:pt x="977" y="236"/>
                  </a:lnTo>
                  <a:lnTo>
                    <a:pt x="775" y="371"/>
                  </a:lnTo>
                  <a:lnTo>
                    <a:pt x="539" y="607"/>
                  </a:lnTo>
                  <a:lnTo>
                    <a:pt x="371" y="842"/>
                  </a:lnTo>
                  <a:lnTo>
                    <a:pt x="236" y="1078"/>
                  </a:lnTo>
                  <a:lnTo>
                    <a:pt x="101" y="1347"/>
                  </a:lnTo>
                  <a:lnTo>
                    <a:pt x="34" y="1651"/>
                  </a:lnTo>
                  <a:lnTo>
                    <a:pt x="0" y="1920"/>
                  </a:lnTo>
                  <a:lnTo>
                    <a:pt x="0" y="2223"/>
                  </a:lnTo>
                  <a:lnTo>
                    <a:pt x="34" y="2526"/>
                  </a:lnTo>
                  <a:lnTo>
                    <a:pt x="101" y="2728"/>
                  </a:lnTo>
                  <a:lnTo>
                    <a:pt x="135" y="2930"/>
                  </a:lnTo>
                  <a:lnTo>
                    <a:pt x="236" y="3098"/>
                  </a:lnTo>
                  <a:lnTo>
                    <a:pt x="337" y="3233"/>
                  </a:lnTo>
                  <a:lnTo>
                    <a:pt x="573" y="3502"/>
                  </a:lnTo>
                  <a:lnTo>
                    <a:pt x="842" y="3738"/>
                  </a:lnTo>
                  <a:lnTo>
                    <a:pt x="1482" y="4142"/>
                  </a:lnTo>
                  <a:lnTo>
                    <a:pt x="1785" y="4378"/>
                  </a:lnTo>
                  <a:lnTo>
                    <a:pt x="2088" y="4613"/>
                  </a:lnTo>
                  <a:lnTo>
                    <a:pt x="3535" y="5994"/>
                  </a:lnTo>
                  <a:lnTo>
                    <a:pt x="4949" y="7374"/>
                  </a:lnTo>
                  <a:lnTo>
                    <a:pt x="5017" y="7408"/>
                  </a:lnTo>
                  <a:lnTo>
                    <a:pt x="5084" y="7408"/>
                  </a:lnTo>
                  <a:lnTo>
                    <a:pt x="5151" y="7340"/>
                  </a:lnTo>
                  <a:lnTo>
                    <a:pt x="5185" y="7307"/>
                  </a:lnTo>
                  <a:lnTo>
                    <a:pt x="5320" y="7172"/>
                  </a:lnTo>
                  <a:lnTo>
                    <a:pt x="5421" y="7037"/>
                  </a:lnTo>
                  <a:lnTo>
                    <a:pt x="5488" y="7037"/>
                  </a:lnTo>
                  <a:lnTo>
                    <a:pt x="5757" y="7374"/>
                  </a:lnTo>
                  <a:lnTo>
                    <a:pt x="5993" y="7643"/>
                  </a:lnTo>
                  <a:lnTo>
                    <a:pt x="6363" y="8014"/>
                  </a:lnTo>
                  <a:lnTo>
                    <a:pt x="6801" y="8384"/>
                  </a:lnTo>
                  <a:lnTo>
                    <a:pt x="7205" y="8687"/>
                  </a:lnTo>
                  <a:lnTo>
                    <a:pt x="7643" y="8956"/>
                  </a:lnTo>
                  <a:lnTo>
                    <a:pt x="8114" y="9192"/>
                  </a:lnTo>
                  <a:lnTo>
                    <a:pt x="8619" y="9360"/>
                  </a:lnTo>
                  <a:lnTo>
                    <a:pt x="8922" y="9428"/>
                  </a:lnTo>
                  <a:lnTo>
                    <a:pt x="9259" y="9461"/>
                  </a:lnTo>
                  <a:lnTo>
                    <a:pt x="9899" y="9529"/>
                  </a:lnTo>
                  <a:lnTo>
                    <a:pt x="10202" y="9563"/>
                  </a:lnTo>
                  <a:lnTo>
                    <a:pt x="10505" y="9664"/>
                  </a:lnTo>
                  <a:lnTo>
                    <a:pt x="10774" y="9832"/>
                  </a:lnTo>
                  <a:lnTo>
                    <a:pt x="11043" y="10034"/>
                  </a:lnTo>
                  <a:lnTo>
                    <a:pt x="11245" y="10303"/>
                  </a:lnTo>
                  <a:lnTo>
                    <a:pt x="11414" y="10606"/>
                  </a:lnTo>
                  <a:lnTo>
                    <a:pt x="11515" y="10977"/>
                  </a:lnTo>
                  <a:lnTo>
                    <a:pt x="11616" y="11347"/>
                  </a:lnTo>
                  <a:lnTo>
                    <a:pt x="11717" y="12088"/>
                  </a:lnTo>
                  <a:lnTo>
                    <a:pt x="11784" y="12761"/>
                  </a:lnTo>
                  <a:lnTo>
                    <a:pt x="11885" y="13805"/>
                  </a:lnTo>
                  <a:lnTo>
                    <a:pt x="11919" y="14310"/>
                  </a:lnTo>
                  <a:lnTo>
                    <a:pt x="11986" y="14781"/>
                  </a:lnTo>
                  <a:lnTo>
                    <a:pt x="12121" y="15252"/>
                  </a:lnTo>
                  <a:lnTo>
                    <a:pt x="12188" y="15488"/>
                  </a:lnTo>
                  <a:lnTo>
                    <a:pt x="12289" y="15690"/>
                  </a:lnTo>
                  <a:lnTo>
                    <a:pt x="12424" y="15892"/>
                  </a:lnTo>
                  <a:lnTo>
                    <a:pt x="12592" y="16094"/>
                  </a:lnTo>
                  <a:lnTo>
                    <a:pt x="12760" y="16296"/>
                  </a:lnTo>
                  <a:lnTo>
                    <a:pt x="12962" y="16464"/>
                  </a:lnTo>
                  <a:lnTo>
                    <a:pt x="13164" y="16599"/>
                  </a:lnTo>
                  <a:lnTo>
                    <a:pt x="13400" y="16734"/>
                  </a:lnTo>
                  <a:lnTo>
                    <a:pt x="13838" y="16936"/>
                  </a:lnTo>
                  <a:lnTo>
                    <a:pt x="14309" y="17070"/>
                  </a:lnTo>
                  <a:lnTo>
                    <a:pt x="14780" y="17205"/>
                  </a:lnTo>
                  <a:lnTo>
                    <a:pt x="15252" y="17306"/>
                  </a:lnTo>
                  <a:lnTo>
                    <a:pt x="15757" y="17373"/>
                  </a:lnTo>
                  <a:lnTo>
                    <a:pt x="16296" y="17441"/>
                  </a:lnTo>
                  <a:lnTo>
                    <a:pt x="16531" y="17407"/>
                  </a:lnTo>
                  <a:lnTo>
                    <a:pt x="16767" y="17407"/>
                  </a:lnTo>
                  <a:lnTo>
                    <a:pt x="17205" y="17340"/>
                  </a:lnTo>
                  <a:lnTo>
                    <a:pt x="17609" y="17239"/>
                  </a:lnTo>
                  <a:lnTo>
                    <a:pt x="18013" y="17070"/>
                  </a:lnTo>
                  <a:lnTo>
                    <a:pt x="18383" y="16902"/>
                  </a:lnTo>
                  <a:lnTo>
                    <a:pt x="18753" y="16700"/>
                  </a:lnTo>
                  <a:lnTo>
                    <a:pt x="19090" y="16464"/>
                  </a:lnTo>
                  <a:lnTo>
                    <a:pt x="19393" y="16161"/>
                  </a:lnTo>
                  <a:lnTo>
                    <a:pt x="19629" y="15791"/>
                  </a:lnTo>
                  <a:lnTo>
                    <a:pt x="19763" y="15555"/>
                  </a:lnTo>
                  <a:lnTo>
                    <a:pt x="19831" y="15320"/>
                  </a:lnTo>
                  <a:lnTo>
                    <a:pt x="19898" y="15084"/>
                  </a:lnTo>
                  <a:lnTo>
                    <a:pt x="19898" y="14815"/>
                  </a:lnTo>
                  <a:lnTo>
                    <a:pt x="19898" y="14579"/>
                  </a:lnTo>
                  <a:lnTo>
                    <a:pt x="19831" y="14343"/>
                  </a:lnTo>
                  <a:lnTo>
                    <a:pt x="19763" y="14108"/>
                  </a:lnTo>
                  <a:lnTo>
                    <a:pt x="19696" y="13872"/>
                  </a:lnTo>
                  <a:lnTo>
                    <a:pt x="19460" y="13367"/>
                  </a:lnTo>
                  <a:lnTo>
                    <a:pt x="19225" y="12929"/>
                  </a:lnTo>
                  <a:lnTo>
                    <a:pt x="18922" y="12492"/>
                  </a:lnTo>
                  <a:lnTo>
                    <a:pt x="18652" y="12121"/>
                  </a:lnTo>
                  <a:lnTo>
                    <a:pt x="18248" y="11549"/>
                  </a:lnTo>
                  <a:lnTo>
                    <a:pt x="17878" y="10909"/>
                  </a:lnTo>
                  <a:lnTo>
                    <a:pt x="17575" y="10202"/>
                  </a:lnTo>
                  <a:lnTo>
                    <a:pt x="17339" y="9529"/>
                  </a:lnTo>
                  <a:lnTo>
                    <a:pt x="17238" y="9158"/>
                  </a:lnTo>
                  <a:lnTo>
                    <a:pt x="17171" y="8788"/>
                  </a:lnTo>
                  <a:lnTo>
                    <a:pt x="17104" y="8418"/>
                  </a:lnTo>
                  <a:lnTo>
                    <a:pt x="17070" y="8047"/>
                  </a:lnTo>
                  <a:lnTo>
                    <a:pt x="17070" y="7711"/>
                  </a:lnTo>
                  <a:lnTo>
                    <a:pt x="17104" y="7340"/>
                  </a:lnTo>
                  <a:lnTo>
                    <a:pt x="17137" y="6970"/>
                  </a:lnTo>
                  <a:lnTo>
                    <a:pt x="17238" y="6633"/>
                  </a:lnTo>
                  <a:lnTo>
                    <a:pt x="17339" y="6297"/>
                  </a:lnTo>
                  <a:lnTo>
                    <a:pt x="17541" y="5960"/>
                  </a:lnTo>
                  <a:lnTo>
                    <a:pt x="17777" y="5691"/>
                  </a:lnTo>
                  <a:lnTo>
                    <a:pt x="18046" y="5455"/>
                  </a:lnTo>
                  <a:lnTo>
                    <a:pt x="18349" y="5253"/>
                  </a:lnTo>
                  <a:lnTo>
                    <a:pt x="18686" y="5152"/>
                  </a:lnTo>
                  <a:lnTo>
                    <a:pt x="19023" y="5085"/>
                  </a:lnTo>
                  <a:lnTo>
                    <a:pt x="19393" y="5085"/>
                  </a:lnTo>
                  <a:lnTo>
                    <a:pt x="19696" y="5186"/>
                  </a:lnTo>
                  <a:lnTo>
                    <a:pt x="19965" y="5320"/>
                  </a:lnTo>
                  <a:lnTo>
                    <a:pt x="20235" y="5489"/>
                  </a:lnTo>
                  <a:lnTo>
                    <a:pt x="20470" y="5724"/>
                  </a:lnTo>
                  <a:lnTo>
                    <a:pt x="20672" y="5960"/>
                  </a:lnTo>
                  <a:lnTo>
                    <a:pt x="20874" y="6196"/>
                  </a:lnTo>
                  <a:lnTo>
                    <a:pt x="21211" y="6734"/>
                  </a:lnTo>
                  <a:lnTo>
                    <a:pt x="21076" y="6936"/>
                  </a:lnTo>
                  <a:lnTo>
                    <a:pt x="21043" y="6936"/>
                  </a:lnTo>
                  <a:lnTo>
                    <a:pt x="21043" y="7037"/>
                  </a:lnTo>
                  <a:lnTo>
                    <a:pt x="21076" y="7071"/>
                  </a:lnTo>
                  <a:lnTo>
                    <a:pt x="21144" y="7071"/>
                  </a:lnTo>
                  <a:lnTo>
                    <a:pt x="21177" y="7138"/>
                  </a:lnTo>
                  <a:lnTo>
                    <a:pt x="21245" y="7273"/>
                  </a:lnTo>
                  <a:lnTo>
                    <a:pt x="21278" y="7340"/>
                  </a:lnTo>
                  <a:lnTo>
                    <a:pt x="21346" y="7374"/>
                  </a:lnTo>
                  <a:lnTo>
                    <a:pt x="21312" y="7542"/>
                  </a:lnTo>
                  <a:lnTo>
                    <a:pt x="21245" y="7576"/>
                  </a:lnTo>
                  <a:lnTo>
                    <a:pt x="21211" y="7643"/>
                  </a:lnTo>
                  <a:lnTo>
                    <a:pt x="21245" y="7677"/>
                  </a:lnTo>
                  <a:lnTo>
                    <a:pt x="21649" y="8216"/>
                  </a:lnTo>
                  <a:lnTo>
                    <a:pt x="22086" y="8721"/>
                  </a:lnTo>
                  <a:lnTo>
                    <a:pt x="22962" y="9697"/>
                  </a:lnTo>
                  <a:lnTo>
                    <a:pt x="23837" y="10674"/>
                  </a:lnTo>
                  <a:lnTo>
                    <a:pt x="24275" y="11145"/>
                  </a:lnTo>
                  <a:lnTo>
                    <a:pt x="24746" y="11583"/>
                  </a:lnTo>
                  <a:lnTo>
                    <a:pt x="25049" y="11886"/>
                  </a:lnTo>
                  <a:lnTo>
                    <a:pt x="25453" y="12256"/>
                  </a:lnTo>
                  <a:lnTo>
                    <a:pt x="25689" y="12424"/>
                  </a:lnTo>
                  <a:lnTo>
                    <a:pt x="25925" y="12593"/>
                  </a:lnTo>
                  <a:lnTo>
                    <a:pt x="26127" y="12660"/>
                  </a:lnTo>
                  <a:lnTo>
                    <a:pt x="26295" y="12694"/>
                  </a:lnTo>
                  <a:lnTo>
                    <a:pt x="26497" y="12660"/>
                  </a:lnTo>
                  <a:lnTo>
                    <a:pt x="26665" y="12593"/>
                  </a:lnTo>
                  <a:lnTo>
                    <a:pt x="26699" y="12559"/>
                  </a:lnTo>
                  <a:lnTo>
                    <a:pt x="27036" y="13064"/>
                  </a:lnTo>
                  <a:lnTo>
                    <a:pt x="27103" y="13098"/>
                  </a:lnTo>
                  <a:lnTo>
                    <a:pt x="27170" y="13098"/>
                  </a:lnTo>
                  <a:lnTo>
                    <a:pt x="27440" y="12862"/>
                  </a:lnTo>
                  <a:lnTo>
                    <a:pt x="27608" y="13030"/>
                  </a:lnTo>
                  <a:lnTo>
                    <a:pt x="27810" y="13165"/>
                  </a:lnTo>
                  <a:lnTo>
                    <a:pt x="28046" y="13232"/>
                  </a:lnTo>
                  <a:lnTo>
                    <a:pt x="28315" y="13266"/>
                  </a:lnTo>
                  <a:lnTo>
                    <a:pt x="28315" y="12862"/>
                  </a:lnTo>
                  <a:lnTo>
                    <a:pt x="27978" y="12795"/>
                  </a:lnTo>
                  <a:lnTo>
                    <a:pt x="27608" y="12660"/>
                  </a:lnTo>
                  <a:lnTo>
                    <a:pt x="27709" y="12525"/>
                  </a:lnTo>
                  <a:lnTo>
                    <a:pt x="27743" y="12458"/>
                  </a:lnTo>
                  <a:lnTo>
                    <a:pt x="27709" y="12357"/>
                  </a:lnTo>
                  <a:lnTo>
                    <a:pt x="27574" y="12189"/>
                  </a:lnTo>
                  <a:lnTo>
                    <a:pt x="27372" y="12020"/>
                  </a:lnTo>
                  <a:lnTo>
                    <a:pt x="27170" y="11919"/>
                  </a:lnTo>
                  <a:lnTo>
                    <a:pt x="27204" y="11852"/>
                  </a:lnTo>
                  <a:lnTo>
                    <a:pt x="27204" y="11751"/>
                  </a:lnTo>
                  <a:lnTo>
                    <a:pt x="27137" y="11650"/>
                  </a:lnTo>
                  <a:lnTo>
                    <a:pt x="27137" y="11616"/>
                  </a:lnTo>
                  <a:lnTo>
                    <a:pt x="27137" y="11583"/>
                  </a:lnTo>
                  <a:lnTo>
                    <a:pt x="27137" y="11549"/>
                  </a:lnTo>
                  <a:lnTo>
                    <a:pt x="27069" y="11549"/>
                  </a:lnTo>
                  <a:lnTo>
                    <a:pt x="26733" y="10977"/>
                  </a:lnTo>
                  <a:lnTo>
                    <a:pt x="26362" y="10438"/>
                  </a:lnTo>
                  <a:lnTo>
                    <a:pt x="25958" y="9933"/>
                  </a:lnTo>
                  <a:lnTo>
                    <a:pt x="25521" y="9428"/>
                  </a:lnTo>
                  <a:lnTo>
                    <a:pt x="25049" y="8956"/>
                  </a:lnTo>
                  <a:lnTo>
                    <a:pt x="24578" y="8519"/>
                  </a:lnTo>
                  <a:lnTo>
                    <a:pt x="23601" y="7610"/>
                  </a:lnTo>
                  <a:lnTo>
                    <a:pt x="23298" y="7307"/>
                  </a:lnTo>
                  <a:lnTo>
                    <a:pt x="22928" y="6970"/>
                  </a:lnTo>
                  <a:lnTo>
                    <a:pt x="22726" y="6835"/>
                  </a:lnTo>
                  <a:lnTo>
                    <a:pt x="22524" y="6734"/>
                  </a:lnTo>
                  <a:lnTo>
                    <a:pt x="22288" y="6667"/>
                  </a:lnTo>
                  <a:lnTo>
                    <a:pt x="22086" y="6701"/>
                  </a:lnTo>
                  <a:lnTo>
                    <a:pt x="21884" y="6768"/>
                  </a:lnTo>
                  <a:lnTo>
                    <a:pt x="21783" y="6600"/>
                  </a:lnTo>
                  <a:lnTo>
                    <a:pt x="21682" y="6431"/>
                  </a:lnTo>
                  <a:lnTo>
                    <a:pt x="21649" y="6398"/>
                  </a:lnTo>
                  <a:lnTo>
                    <a:pt x="21581" y="6364"/>
                  </a:lnTo>
                  <a:lnTo>
                    <a:pt x="21514" y="6364"/>
                  </a:lnTo>
                  <a:lnTo>
                    <a:pt x="21480" y="6398"/>
                  </a:lnTo>
                  <a:lnTo>
                    <a:pt x="21413" y="6499"/>
                  </a:lnTo>
                  <a:lnTo>
                    <a:pt x="21177" y="6162"/>
                  </a:lnTo>
                  <a:lnTo>
                    <a:pt x="20942" y="5825"/>
                  </a:lnTo>
                  <a:lnTo>
                    <a:pt x="20639" y="5522"/>
                  </a:lnTo>
                  <a:lnTo>
                    <a:pt x="20336" y="5219"/>
                  </a:lnTo>
                  <a:lnTo>
                    <a:pt x="19999" y="4984"/>
                  </a:lnTo>
                  <a:lnTo>
                    <a:pt x="19831" y="4916"/>
                  </a:lnTo>
                  <a:lnTo>
                    <a:pt x="19662" y="4849"/>
                  </a:lnTo>
                  <a:lnTo>
                    <a:pt x="19460" y="4782"/>
                  </a:lnTo>
                  <a:lnTo>
                    <a:pt x="19258" y="4748"/>
                  </a:lnTo>
                  <a:lnTo>
                    <a:pt x="19056" y="4748"/>
                  </a:lnTo>
                  <a:lnTo>
                    <a:pt x="18854" y="4782"/>
                  </a:lnTo>
                  <a:lnTo>
                    <a:pt x="18585" y="4849"/>
                  </a:lnTo>
                  <a:lnTo>
                    <a:pt x="18383" y="4916"/>
                  </a:lnTo>
                  <a:lnTo>
                    <a:pt x="18147" y="5017"/>
                  </a:lnTo>
                  <a:lnTo>
                    <a:pt x="17945" y="5152"/>
                  </a:lnTo>
                  <a:lnTo>
                    <a:pt x="17777" y="5287"/>
                  </a:lnTo>
                  <a:lnTo>
                    <a:pt x="17609" y="5421"/>
                  </a:lnTo>
                  <a:lnTo>
                    <a:pt x="17474" y="5590"/>
                  </a:lnTo>
                  <a:lnTo>
                    <a:pt x="17339" y="5792"/>
                  </a:lnTo>
                  <a:lnTo>
                    <a:pt x="17104" y="6162"/>
                  </a:lnTo>
                  <a:lnTo>
                    <a:pt x="16935" y="6600"/>
                  </a:lnTo>
                  <a:lnTo>
                    <a:pt x="16834" y="7071"/>
                  </a:lnTo>
                  <a:lnTo>
                    <a:pt x="16767" y="7542"/>
                  </a:lnTo>
                  <a:lnTo>
                    <a:pt x="16767" y="8148"/>
                  </a:lnTo>
                  <a:lnTo>
                    <a:pt x="16834" y="8754"/>
                  </a:lnTo>
                  <a:lnTo>
                    <a:pt x="16969" y="9360"/>
                  </a:lnTo>
                  <a:lnTo>
                    <a:pt x="17137" y="9933"/>
                  </a:lnTo>
                  <a:lnTo>
                    <a:pt x="17339" y="10505"/>
                  </a:lnTo>
                  <a:lnTo>
                    <a:pt x="17609" y="11078"/>
                  </a:lnTo>
                  <a:lnTo>
                    <a:pt x="17912" y="11616"/>
                  </a:lnTo>
                  <a:lnTo>
                    <a:pt x="18248" y="12088"/>
                  </a:lnTo>
                  <a:lnTo>
                    <a:pt x="18652" y="12626"/>
                  </a:lnTo>
                  <a:lnTo>
                    <a:pt x="18989" y="13165"/>
                  </a:lnTo>
                  <a:lnTo>
                    <a:pt x="19157" y="13434"/>
                  </a:lnTo>
                  <a:lnTo>
                    <a:pt x="19292" y="13737"/>
                  </a:lnTo>
                  <a:lnTo>
                    <a:pt x="19427" y="14040"/>
                  </a:lnTo>
                  <a:lnTo>
                    <a:pt x="19528" y="14377"/>
                  </a:lnTo>
                  <a:lnTo>
                    <a:pt x="19561" y="14579"/>
                  </a:lnTo>
                  <a:lnTo>
                    <a:pt x="19595" y="14781"/>
                  </a:lnTo>
                  <a:lnTo>
                    <a:pt x="19561" y="14983"/>
                  </a:lnTo>
                  <a:lnTo>
                    <a:pt x="19528" y="15185"/>
                  </a:lnTo>
                  <a:lnTo>
                    <a:pt x="19494" y="15353"/>
                  </a:lnTo>
                  <a:lnTo>
                    <a:pt x="19427" y="15522"/>
                  </a:lnTo>
                  <a:lnTo>
                    <a:pt x="19225" y="15858"/>
                  </a:lnTo>
                  <a:lnTo>
                    <a:pt x="18955" y="16161"/>
                  </a:lnTo>
                  <a:lnTo>
                    <a:pt x="18652" y="16397"/>
                  </a:lnTo>
                  <a:lnTo>
                    <a:pt x="18316" y="16599"/>
                  </a:lnTo>
                  <a:lnTo>
                    <a:pt x="17945" y="16767"/>
                  </a:lnTo>
                  <a:lnTo>
                    <a:pt x="17676" y="16902"/>
                  </a:lnTo>
                  <a:lnTo>
                    <a:pt x="17373" y="16969"/>
                  </a:lnTo>
                  <a:lnTo>
                    <a:pt x="17070" y="17037"/>
                  </a:lnTo>
                  <a:lnTo>
                    <a:pt x="16733" y="17070"/>
                  </a:lnTo>
                  <a:lnTo>
                    <a:pt x="16094" y="17104"/>
                  </a:lnTo>
                  <a:lnTo>
                    <a:pt x="15420" y="17070"/>
                  </a:lnTo>
                  <a:lnTo>
                    <a:pt x="14747" y="16936"/>
                  </a:lnTo>
                  <a:lnTo>
                    <a:pt x="14444" y="16868"/>
                  </a:lnTo>
                  <a:lnTo>
                    <a:pt x="14141" y="16734"/>
                  </a:lnTo>
                  <a:lnTo>
                    <a:pt x="13838" y="16633"/>
                  </a:lnTo>
                  <a:lnTo>
                    <a:pt x="13535" y="16464"/>
                  </a:lnTo>
                  <a:lnTo>
                    <a:pt x="13299" y="16330"/>
                  </a:lnTo>
                  <a:lnTo>
                    <a:pt x="13030" y="16128"/>
                  </a:lnTo>
                  <a:lnTo>
                    <a:pt x="12760" y="15892"/>
                  </a:lnTo>
                  <a:lnTo>
                    <a:pt x="12558" y="15589"/>
                  </a:lnTo>
                  <a:lnTo>
                    <a:pt x="12390" y="15286"/>
                  </a:lnTo>
                  <a:lnTo>
                    <a:pt x="12323" y="14949"/>
                  </a:lnTo>
                  <a:lnTo>
                    <a:pt x="12255" y="14613"/>
                  </a:lnTo>
                  <a:lnTo>
                    <a:pt x="12188" y="14276"/>
                  </a:lnTo>
                  <a:lnTo>
                    <a:pt x="12154" y="13535"/>
                  </a:lnTo>
                  <a:lnTo>
                    <a:pt x="12087" y="12862"/>
                  </a:lnTo>
                  <a:lnTo>
                    <a:pt x="12020" y="12222"/>
                  </a:lnTo>
                  <a:lnTo>
                    <a:pt x="11919" y="11549"/>
                  </a:lnTo>
                  <a:lnTo>
                    <a:pt x="11784" y="10909"/>
                  </a:lnTo>
                  <a:lnTo>
                    <a:pt x="11649" y="10539"/>
                  </a:lnTo>
                  <a:lnTo>
                    <a:pt x="11481" y="10135"/>
                  </a:lnTo>
                  <a:lnTo>
                    <a:pt x="11380" y="9967"/>
                  </a:lnTo>
                  <a:lnTo>
                    <a:pt x="11245" y="9798"/>
                  </a:lnTo>
                  <a:lnTo>
                    <a:pt x="11111" y="9664"/>
                  </a:lnTo>
                  <a:lnTo>
                    <a:pt x="10942" y="9563"/>
                  </a:lnTo>
                  <a:lnTo>
                    <a:pt x="10673" y="9428"/>
                  </a:lnTo>
                  <a:lnTo>
                    <a:pt x="10404" y="9327"/>
                  </a:lnTo>
                  <a:lnTo>
                    <a:pt x="10134" y="9259"/>
                  </a:lnTo>
                  <a:lnTo>
                    <a:pt x="9831" y="9192"/>
                  </a:lnTo>
                  <a:lnTo>
                    <a:pt x="9259" y="9158"/>
                  </a:lnTo>
                  <a:lnTo>
                    <a:pt x="8687" y="9057"/>
                  </a:lnTo>
                  <a:lnTo>
                    <a:pt x="8350" y="8990"/>
                  </a:lnTo>
                  <a:lnTo>
                    <a:pt x="8013" y="8855"/>
                  </a:lnTo>
                  <a:lnTo>
                    <a:pt x="7710" y="8687"/>
                  </a:lnTo>
                  <a:lnTo>
                    <a:pt x="7407" y="8485"/>
                  </a:lnTo>
                  <a:lnTo>
                    <a:pt x="6835" y="8047"/>
                  </a:lnTo>
                  <a:lnTo>
                    <a:pt x="6296" y="7576"/>
                  </a:lnTo>
                  <a:lnTo>
                    <a:pt x="6128" y="7408"/>
                  </a:lnTo>
                  <a:lnTo>
                    <a:pt x="5993" y="7206"/>
                  </a:lnTo>
                  <a:lnTo>
                    <a:pt x="5825" y="7004"/>
                  </a:lnTo>
                  <a:lnTo>
                    <a:pt x="5656" y="6869"/>
                  </a:lnTo>
                  <a:lnTo>
                    <a:pt x="5589" y="6835"/>
                  </a:lnTo>
                  <a:lnTo>
                    <a:pt x="5724" y="6667"/>
                  </a:lnTo>
                  <a:lnTo>
                    <a:pt x="5757" y="6600"/>
                  </a:lnTo>
                  <a:lnTo>
                    <a:pt x="5825" y="6600"/>
                  </a:lnTo>
                  <a:lnTo>
                    <a:pt x="5892" y="6566"/>
                  </a:lnTo>
                  <a:lnTo>
                    <a:pt x="5892" y="6499"/>
                  </a:lnTo>
                  <a:lnTo>
                    <a:pt x="5858" y="6431"/>
                  </a:lnTo>
                  <a:lnTo>
                    <a:pt x="4983" y="5590"/>
                  </a:lnTo>
                  <a:lnTo>
                    <a:pt x="4579" y="5152"/>
                  </a:lnTo>
                  <a:lnTo>
                    <a:pt x="4411" y="4916"/>
                  </a:lnTo>
                  <a:lnTo>
                    <a:pt x="4242" y="4681"/>
                  </a:lnTo>
                  <a:lnTo>
                    <a:pt x="4108" y="4445"/>
                  </a:lnTo>
                  <a:lnTo>
                    <a:pt x="3939" y="4243"/>
                  </a:lnTo>
                  <a:lnTo>
                    <a:pt x="3737" y="4041"/>
                  </a:lnTo>
                  <a:lnTo>
                    <a:pt x="3502" y="3873"/>
                  </a:lnTo>
                  <a:lnTo>
                    <a:pt x="3064" y="3536"/>
                  </a:lnTo>
                  <a:lnTo>
                    <a:pt x="2626" y="3233"/>
                  </a:lnTo>
                  <a:lnTo>
                    <a:pt x="2896" y="3132"/>
                  </a:lnTo>
                  <a:lnTo>
                    <a:pt x="3030" y="3065"/>
                  </a:lnTo>
                  <a:lnTo>
                    <a:pt x="3165" y="2964"/>
                  </a:lnTo>
                  <a:lnTo>
                    <a:pt x="3367" y="2728"/>
                  </a:lnTo>
                  <a:lnTo>
                    <a:pt x="3502" y="2459"/>
                  </a:lnTo>
                  <a:lnTo>
                    <a:pt x="3636" y="2156"/>
                  </a:lnTo>
                  <a:lnTo>
                    <a:pt x="3704" y="1819"/>
                  </a:lnTo>
                  <a:lnTo>
                    <a:pt x="3737" y="1516"/>
                  </a:lnTo>
                  <a:lnTo>
                    <a:pt x="3737" y="1179"/>
                  </a:lnTo>
                  <a:lnTo>
                    <a:pt x="3704" y="876"/>
                  </a:lnTo>
                  <a:lnTo>
                    <a:pt x="3670" y="775"/>
                  </a:lnTo>
                  <a:lnTo>
                    <a:pt x="3535" y="775"/>
                  </a:lnTo>
                  <a:lnTo>
                    <a:pt x="3502" y="809"/>
                  </a:lnTo>
                  <a:lnTo>
                    <a:pt x="3502" y="876"/>
                  </a:lnTo>
                  <a:lnTo>
                    <a:pt x="3502" y="1145"/>
                  </a:lnTo>
                  <a:lnTo>
                    <a:pt x="3401" y="876"/>
                  </a:lnTo>
                  <a:lnTo>
                    <a:pt x="3232" y="674"/>
                  </a:lnTo>
                  <a:lnTo>
                    <a:pt x="3030" y="539"/>
                  </a:lnTo>
                  <a:lnTo>
                    <a:pt x="2963" y="472"/>
                  </a:lnTo>
                  <a:lnTo>
                    <a:pt x="2896" y="337"/>
                  </a:lnTo>
                  <a:lnTo>
                    <a:pt x="2862" y="236"/>
                  </a:lnTo>
                  <a:lnTo>
                    <a:pt x="2761" y="203"/>
                  </a:lnTo>
                  <a:lnTo>
                    <a:pt x="2694" y="169"/>
                  </a:lnTo>
                  <a:lnTo>
                    <a:pt x="2593" y="169"/>
                  </a:lnTo>
                  <a:lnTo>
                    <a:pt x="2559" y="203"/>
                  </a:lnTo>
                  <a:lnTo>
                    <a:pt x="2357" y="102"/>
                  </a:lnTo>
                  <a:lnTo>
                    <a:pt x="2121" y="34"/>
                  </a:lnTo>
                  <a:lnTo>
                    <a:pt x="188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6" name="Google Shape;726;p5"/>
            <p:cNvSpPr/>
            <p:nvPr/>
          </p:nvSpPr>
          <p:spPr>
            <a:xfrm>
              <a:off x="5518788" y="4151652"/>
              <a:ext cx="28548" cy="30242"/>
            </a:xfrm>
            <a:custGeom>
              <a:avLst/>
              <a:gdLst/>
              <a:ahLst/>
              <a:cxnLst/>
              <a:rect l="l" t="t" r="r" b="b"/>
              <a:pathLst>
                <a:path w="573" h="607" extrusionOk="0">
                  <a:moveTo>
                    <a:pt x="405" y="0"/>
                  </a:moveTo>
                  <a:lnTo>
                    <a:pt x="337" y="34"/>
                  </a:lnTo>
                  <a:lnTo>
                    <a:pt x="270" y="68"/>
                  </a:lnTo>
                  <a:lnTo>
                    <a:pt x="102" y="303"/>
                  </a:lnTo>
                  <a:lnTo>
                    <a:pt x="34" y="438"/>
                  </a:lnTo>
                  <a:lnTo>
                    <a:pt x="1" y="573"/>
                  </a:lnTo>
                  <a:lnTo>
                    <a:pt x="34" y="606"/>
                  </a:lnTo>
                  <a:lnTo>
                    <a:pt x="169" y="573"/>
                  </a:lnTo>
                  <a:lnTo>
                    <a:pt x="304" y="505"/>
                  </a:lnTo>
                  <a:lnTo>
                    <a:pt x="506" y="303"/>
                  </a:lnTo>
                  <a:lnTo>
                    <a:pt x="539" y="236"/>
                  </a:lnTo>
                  <a:lnTo>
                    <a:pt x="573" y="169"/>
                  </a:lnTo>
                  <a:lnTo>
                    <a:pt x="539" y="135"/>
                  </a:lnTo>
                  <a:lnTo>
                    <a:pt x="506" y="68"/>
                  </a:lnTo>
                  <a:lnTo>
                    <a:pt x="438" y="34"/>
                  </a:lnTo>
                  <a:lnTo>
                    <a:pt x="40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7" name="Google Shape;727;p5"/>
            <p:cNvSpPr/>
            <p:nvPr/>
          </p:nvSpPr>
          <p:spPr>
            <a:xfrm>
              <a:off x="6605766" y="4480430"/>
              <a:ext cx="134222" cy="130884"/>
            </a:xfrm>
            <a:custGeom>
              <a:avLst/>
              <a:gdLst/>
              <a:ahLst/>
              <a:cxnLst/>
              <a:rect l="l" t="t" r="r" b="b"/>
              <a:pathLst>
                <a:path w="2694" h="2627" extrusionOk="0">
                  <a:moveTo>
                    <a:pt x="505" y="337"/>
                  </a:moveTo>
                  <a:lnTo>
                    <a:pt x="775" y="539"/>
                  </a:lnTo>
                  <a:lnTo>
                    <a:pt x="1044" y="741"/>
                  </a:lnTo>
                  <a:lnTo>
                    <a:pt x="977" y="842"/>
                  </a:lnTo>
                  <a:lnTo>
                    <a:pt x="910" y="943"/>
                  </a:lnTo>
                  <a:lnTo>
                    <a:pt x="842" y="1077"/>
                  </a:lnTo>
                  <a:lnTo>
                    <a:pt x="606" y="842"/>
                  </a:lnTo>
                  <a:lnTo>
                    <a:pt x="674" y="741"/>
                  </a:lnTo>
                  <a:lnTo>
                    <a:pt x="707" y="539"/>
                  </a:lnTo>
                  <a:lnTo>
                    <a:pt x="707" y="505"/>
                  </a:lnTo>
                  <a:lnTo>
                    <a:pt x="573" y="640"/>
                  </a:lnTo>
                  <a:lnTo>
                    <a:pt x="505" y="774"/>
                  </a:lnTo>
                  <a:lnTo>
                    <a:pt x="135" y="471"/>
                  </a:lnTo>
                  <a:lnTo>
                    <a:pt x="337" y="370"/>
                  </a:lnTo>
                  <a:lnTo>
                    <a:pt x="438" y="337"/>
                  </a:lnTo>
                  <a:close/>
                  <a:moveTo>
                    <a:pt x="1179" y="875"/>
                  </a:moveTo>
                  <a:lnTo>
                    <a:pt x="1415" y="1077"/>
                  </a:lnTo>
                  <a:lnTo>
                    <a:pt x="1482" y="1178"/>
                  </a:lnTo>
                  <a:lnTo>
                    <a:pt x="1381" y="1313"/>
                  </a:lnTo>
                  <a:lnTo>
                    <a:pt x="1280" y="1515"/>
                  </a:lnTo>
                  <a:lnTo>
                    <a:pt x="1145" y="1381"/>
                  </a:lnTo>
                  <a:lnTo>
                    <a:pt x="977" y="1212"/>
                  </a:lnTo>
                  <a:lnTo>
                    <a:pt x="1044" y="1111"/>
                  </a:lnTo>
                  <a:lnTo>
                    <a:pt x="1112" y="976"/>
                  </a:lnTo>
                  <a:lnTo>
                    <a:pt x="1179" y="875"/>
                  </a:lnTo>
                  <a:close/>
                  <a:moveTo>
                    <a:pt x="1583" y="1246"/>
                  </a:moveTo>
                  <a:lnTo>
                    <a:pt x="1852" y="1583"/>
                  </a:lnTo>
                  <a:lnTo>
                    <a:pt x="1751" y="1717"/>
                  </a:lnTo>
                  <a:lnTo>
                    <a:pt x="1684" y="1886"/>
                  </a:lnTo>
                  <a:lnTo>
                    <a:pt x="1448" y="1650"/>
                  </a:lnTo>
                  <a:lnTo>
                    <a:pt x="1516" y="1414"/>
                  </a:lnTo>
                  <a:lnTo>
                    <a:pt x="1583" y="1246"/>
                  </a:lnTo>
                  <a:close/>
                  <a:moveTo>
                    <a:pt x="1920" y="1684"/>
                  </a:moveTo>
                  <a:lnTo>
                    <a:pt x="2122" y="1919"/>
                  </a:lnTo>
                  <a:lnTo>
                    <a:pt x="2021" y="2020"/>
                  </a:lnTo>
                  <a:lnTo>
                    <a:pt x="2021" y="2088"/>
                  </a:lnTo>
                  <a:lnTo>
                    <a:pt x="2021" y="2155"/>
                  </a:lnTo>
                  <a:lnTo>
                    <a:pt x="1819" y="1987"/>
                  </a:lnTo>
                  <a:lnTo>
                    <a:pt x="1852" y="1919"/>
                  </a:lnTo>
                  <a:lnTo>
                    <a:pt x="1886" y="1818"/>
                  </a:lnTo>
                  <a:lnTo>
                    <a:pt x="1920" y="1684"/>
                  </a:lnTo>
                  <a:close/>
                  <a:moveTo>
                    <a:pt x="2122" y="1953"/>
                  </a:moveTo>
                  <a:lnTo>
                    <a:pt x="2324" y="2155"/>
                  </a:lnTo>
                  <a:lnTo>
                    <a:pt x="2223" y="2357"/>
                  </a:lnTo>
                  <a:lnTo>
                    <a:pt x="2054" y="2189"/>
                  </a:lnTo>
                  <a:lnTo>
                    <a:pt x="2054" y="2054"/>
                  </a:lnTo>
                  <a:lnTo>
                    <a:pt x="2088" y="1987"/>
                  </a:lnTo>
                  <a:lnTo>
                    <a:pt x="2122" y="1953"/>
                  </a:lnTo>
                  <a:close/>
                  <a:moveTo>
                    <a:pt x="404" y="0"/>
                  </a:moveTo>
                  <a:lnTo>
                    <a:pt x="303" y="34"/>
                  </a:lnTo>
                  <a:lnTo>
                    <a:pt x="135" y="202"/>
                  </a:lnTo>
                  <a:lnTo>
                    <a:pt x="68" y="337"/>
                  </a:lnTo>
                  <a:lnTo>
                    <a:pt x="34" y="438"/>
                  </a:lnTo>
                  <a:lnTo>
                    <a:pt x="0" y="471"/>
                  </a:lnTo>
                  <a:lnTo>
                    <a:pt x="34" y="505"/>
                  </a:lnTo>
                  <a:lnTo>
                    <a:pt x="236" y="808"/>
                  </a:lnTo>
                  <a:lnTo>
                    <a:pt x="472" y="1077"/>
                  </a:lnTo>
                  <a:lnTo>
                    <a:pt x="1011" y="1616"/>
                  </a:lnTo>
                  <a:lnTo>
                    <a:pt x="1617" y="2121"/>
                  </a:lnTo>
                  <a:lnTo>
                    <a:pt x="2189" y="2593"/>
                  </a:lnTo>
                  <a:lnTo>
                    <a:pt x="2223" y="2626"/>
                  </a:lnTo>
                  <a:lnTo>
                    <a:pt x="2290" y="2626"/>
                  </a:lnTo>
                  <a:lnTo>
                    <a:pt x="2324" y="2593"/>
                  </a:lnTo>
                  <a:lnTo>
                    <a:pt x="2357" y="2559"/>
                  </a:lnTo>
                  <a:lnTo>
                    <a:pt x="2458" y="2290"/>
                  </a:lnTo>
                  <a:lnTo>
                    <a:pt x="2593" y="2391"/>
                  </a:lnTo>
                  <a:lnTo>
                    <a:pt x="2627" y="2424"/>
                  </a:lnTo>
                  <a:lnTo>
                    <a:pt x="2694" y="2391"/>
                  </a:lnTo>
                  <a:lnTo>
                    <a:pt x="2694" y="2357"/>
                  </a:lnTo>
                  <a:lnTo>
                    <a:pt x="2694" y="2290"/>
                  </a:lnTo>
                  <a:lnTo>
                    <a:pt x="2559" y="1987"/>
                  </a:lnTo>
                  <a:lnTo>
                    <a:pt x="2324" y="1717"/>
                  </a:lnTo>
                  <a:lnTo>
                    <a:pt x="1852" y="1145"/>
                  </a:lnTo>
                  <a:lnTo>
                    <a:pt x="1583" y="875"/>
                  </a:lnTo>
                  <a:lnTo>
                    <a:pt x="1280" y="606"/>
                  </a:lnTo>
                  <a:lnTo>
                    <a:pt x="1280" y="539"/>
                  </a:lnTo>
                  <a:lnTo>
                    <a:pt x="1246" y="539"/>
                  </a:lnTo>
                  <a:lnTo>
                    <a:pt x="1213" y="572"/>
                  </a:lnTo>
                  <a:lnTo>
                    <a:pt x="842" y="269"/>
                  </a:lnTo>
                  <a:lnTo>
                    <a:pt x="472" y="34"/>
                  </a:lnTo>
                  <a:lnTo>
                    <a:pt x="40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8" name="Google Shape;728;p5"/>
            <p:cNvSpPr/>
            <p:nvPr/>
          </p:nvSpPr>
          <p:spPr>
            <a:xfrm>
              <a:off x="5567415" y="4250599"/>
              <a:ext cx="99047" cy="98997"/>
            </a:xfrm>
            <a:custGeom>
              <a:avLst/>
              <a:gdLst/>
              <a:ahLst/>
              <a:cxnLst/>
              <a:rect l="l" t="t" r="r" b="b"/>
              <a:pathLst>
                <a:path w="1988" h="1987" extrusionOk="0">
                  <a:moveTo>
                    <a:pt x="35" y="1"/>
                  </a:moveTo>
                  <a:lnTo>
                    <a:pt x="1" y="34"/>
                  </a:lnTo>
                  <a:lnTo>
                    <a:pt x="68" y="203"/>
                  </a:lnTo>
                  <a:lnTo>
                    <a:pt x="169" y="371"/>
                  </a:lnTo>
                  <a:lnTo>
                    <a:pt x="439" y="640"/>
                  </a:lnTo>
                  <a:lnTo>
                    <a:pt x="1112" y="1314"/>
                  </a:lnTo>
                  <a:lnTo>
                    <a:pt x="1348" y="1583"/>
                  </a:lnTo>
                  <a:lnTo>
                    <a:pt x="1583" y="1852"/>
                  </a:lnTo>
                  <a:lnTo>
                    <a:pt x="1651" y="1920"/>
                  </a:lnTo>
                  <a:lnTo>
                    <a:pt x="1752" y="1953"/>
                  </a:lnTo>
                  <a:lnTo>
                    <a:pt x="1819" y="1987"/>
                  </a:lnTo>
                  <a:lnTo>
                    <a:pt x="1920" y="1953"/>
                  </a:lnTo>
                  <a:lnTo>
                    <a:pt x="1987" y="1886"/>
                  </a:lnTo>
                  <a:lnTo>
                    <a:pt x="1954" y="1819"/>
                  </a:lnTo>
                  <a:lnTo>
                    <a:pt x="1954" y="1785"/>
                  </a:lnTo>
                  <a:lnTo>
                    <a:pt x="1718" y="1583"/>
                  </a:lnTo>
                  <a:lnTo>
                    <a:pt x="1516" y="1381"/>
                  </a:lnTo>
                  <a:lnTo>
                    <a:pt x="1112" y="943"/>
                  </a:lnTo>
                  <a:lnTo>
                    <a:pt x="540" y="371"/>
                  </a:lnTo>
                  <a:lnTo>
                    <a:pt x="304" y="135"/>
                  </a:lnTo>
                  <a:lnTo>
                    <a:pt x="169" y="68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29" name="Google Shape;729;p5"/>
            <p:cNvSpPr/>
            <p:nvPr/>
          </p:nvSpPr>
          <p:spPr>
            <a:xfrm>
              <a:off x="6531979" y="3618202"/>
              <a:ext cx="338843" cy="838762"/>
            </a:xfrm>
            <a:custGeom>
              <a:avLst/>
              <a:gdLst/>
              <a:ahLst/>
              <a:cxnLst/>
              <a:rect l="l" t="t" r="r" b="b"/>
              <a:pathLst>
                <a:path w="6801" h="16835" extrusionOk="0">
                  <a:moveTo>
                    <a:pt x="6195" y="472"/>
                  </a:moveTo>
                  <a:lnTo>
                    <a:pt x="5892" y="943"/>
                  </a:lnTo>
                  <a:lnTo>
                    <a:pt x="5825" y="910"/>
                  </a:lnTo>
                  <a:lnTo>
                    <a:pt x="5791" y="842"/>
                  </a:lnTo>
                  <a:lnTo>
                    <a:pt x="5757" y="809"/>
                  </a:lnTo>
                  <a:lnTo>
                    <a:pt x="6195" y="472"/>
                  </a:lnTo>
                  <a:close/>
                  <a:moveTo>
                    <a:pt x="5589" y="977"/>
                  </a:moveTo>
                  <a:lnTo>
                    <a:pt x="5656" y="1078"/>
                  </a:lnTo>
                  <a:lnTo>
                    <a:pt x="5724" y="1145"/>
                  </a:lnTo>
                  <a:lnTo>
                    <a:pt x="5589" y="1381"/>
                  </a:lnTo>
                  <a:lnTo>
                    <a:pt x="5387" y="1246"/>
                  </a:lnTo>
                  <a:lnTo>
                    <a:pt x="5488" y="1112"/>
                  </a:lnTo>
                  <a:lnTo>
                    <a:pt x="5589" y="977"/>
                  </a:lnTo>
                  <a:close/>
                  <a:moveTo>
                    <a:pt x="5252" y="1381"/>
                  </a:moveTo>
                  <a:lnTo>
                    <a:pt x="5353" y="1482"/>
                  </a:lnTo>
                  <a:lnTo>
                    <a:pt x="5454" y="1549"/>
                  </a:lnTo>
                  <a:lnTo>
                    <a:pt x="5320" y="1819"/>
                  </a:lnTo>
                  <a:lnTo>
                    <a:pt x="5286" y="1785"/>
                  </a:lnTo>
                  <a:lnTo>
                    <a:pt x="5084" y="1684"/>
                  </a:lnTo>
                  <a:lnTo>
                    <a:pt x="5050" y="1684"/>
                  </a:lnTo>
                  <a:lnTo>
                    <a:pt x="5252" y="1381"/>
                  </a:lnTo>
                  <a:close/>
                  <a:moveTo>
                    <a:pt x="4949" y="1886"/>
                  </a:moveTo>
                  <a:lnTo>
                    <a:pt x="5084" y="1920"/>
                  </a:lnTo>
                  <a:lnTo>
                    <a:pt x="5219" y="1987"/>
                  </a:lnTo>
                  <a:lnTo>
                    <a:pt x="5084" y="2223"/>
                  </a:lnTo>
                  <a:lnTo>
                    <a:pt x="4815" y="1987"/>
                  </a:lnTo>
                  <a:lnTo>
                    <a:pt x="4882" y="1886"/>
                  </a:lnTo>
                  <a:close/>
                  <a:moveTo>
                    <a:pt x="4411" y="1920"/>
                  </a:moveTo>
                  <a:lnTo>
                    <a:pt x="4680" y="2189"/>
                  </a:lnTo>
                  <a:lnTo>
                    <a:pt x="4815" y="2324"/>
                  </a:lnTo>
                  <a:lnTo>
                    <a:pt x="4983" y="2459"/>
                  </a:lnTo>
                  <a:lnTo>
                    <a:pt x="4949" y="2459"/>
                  </a:lnTo>
                  <a:lnTo>
                    <a:pt x="4949" y="2526"/>
                  </a:lnTo>
                  <a:lnTo>
                    <a:pt x="4983" y="2593"/>
                  </a:lnTo>
                  <a:lnTo>
                    <a:pt x="5050" y="2593"/>
                  </a:lnTo>
                  <a:lnTo>
                    <a:pt x="5084" y="2560"/>
                  </a:lnTo>
                  <a:lnTo>
                    <a:pt x="5118" y="2526"/>
                  </a:lnTo>
                  <a:lnTo>
                    <a:pt x="4040" y="3704"/>
                  </a:lnTo>
                  <a:lnTo>
                    <a:pt x="3973" y="3839"/>
                  </a:lnTo>
                  <a:lnTo>
                    <a:pt x="3872" y="4041"/>
                  </a:lnTo>
                  <a:lnTo>
                    <a:pt x="3737" y="4176"/>
                  </a:lnTo>
                  <a:lnTo>
                    <a:pt x="3670" y="4209"/>
                  </a:lnTo>
                  <a:lnTo>
                    <a:pt x="3603" y="4209"/>
                  </a:lnTo>
                  <a:lnTo>
                    <a:pt x="3266" y="3940"/>
                  </a:lnTo>
                  <a:lnTo>
                    <a:pt x="2862" y="3570"/>
                  </a:lnTo>
                  <a:lnTo>
                    <a:pt x="3098" y="3401"/>
                  </a:lnTo>
                  <a:lnTo>
                    <a:pt x="3300" y="3199"/>
                  </a:lnTo>
                  <a:lnTo>
                    <a:pt x="3704" y="2762"/>
                  </a:lnTo>
                  <a:lnTo>
                    <a:pt x="4074" y="2357"/>
                  </a:lnTo>
                  <a:lnTo>
                    <a:pt x="4242" y="2155"/>
                  </a:lnTo>
                  <a:lnTo>
                    <a:pt x="4411" y="1920"/>
                  </a:lnTo>
                  <a:close/>
                  <a:moveTo>
                    <a:pt x="2963" y="4041"/>
                  </a:moveTo>
                  <a:lnTo>
                    <a:pt x="3030" y="4108"/>
                  </a:lnTo>
                  <a:lnTo>
                    <a:pt x="2997" y="4142"/>
                  </a:lnTo>
                  <a:lnTo>
                    <a:pt x="2862" y="4277"/>
                  </a:lnTo>
                  <a:lnTo>
                    <a:pt x="2694" y="4479"/>
                  </a:lnTo>
                  <a:lnTo>
                    <a:pt x="2593" y="4647"/>
                  </a:lnTo>
                  <a:lnTo>
                    <a:pt x="2559" y="4782"/>
                  </a:lnTo>
                  <a:lnTo>
                    <a:pt x="2525" y="4883"/>
                  </a:lnTo>
                  <a:lnTo>
                    <a:pt x="2391" y="4748"/>
                  </a:lnTo>
                  <a:lnTo>
                    <a:pt x="2256" y="4647"/>
                  </a:lnTo>
                  <a:lnTo>
                    <a:pt x="2424" y="4512"/>
                  </a:lnTo>
                  <a:lnTo>
                    <a:pt x="2559" y="4344"/>
                  </a:lnTo>
                  <a:lnTo>
                    <a:pt x="2761" y="4176"/>
                  </a:lnTo>
                  <a:lnTo>
                    <a:pt x="2963" y="4041"/>
                  </a:lnTo>
                  <a:close/>
                  <a:moveTo>
                    <a:pt x="6565" y="1"/>
                  </a:moveTo>
                  <a:lnTo>
                    <a:pt x="6498" y="34"/>
                  </a:lnTo>
                  <a:lnTo>
                    <a:pt x="5959" y="371"/>
                  </a:lnTo>
                  <a:lnTo>
                    <a:pt x="5690" y="573"/>
                  </a:lnTo>
                  <a:lnTo>
                    <a:pt x="5454" y="809"/>
                  </a:lnTo>
                  <a:lnTo>
                    <a:pt x="5219" y="1078"/>
                  </a:lnTo>
                  <a:lnTo>
                    <a:pt x="5017" y="1347"/>
                  </a:lnTo>
                  <a:lnTo>
                    <a:pt x="4848" y="1650"/>
                  </a:lnTo>
                  <a:lnTo>
                    <a:pt x="4747" y="1953"/>
                  </a:lnTo>
                  <a:lnTo>
                    <a:pt x="4613" y="1785"/>
                  </a:lnTo>
                  <a:lnTo>
                    <a:pt x="4444" y="1650"/>
                  </a:lnTo>
                  <a:lnTo>
                    <a:pt x="4377" y="1617"/>
                  </a:lnTo>
                  <a:lnTo>
                    <a:pt x="4343" y="1650"/>
                  </a:lnTo>
                  <a:lnTo>
                    <a:pt x="4276" y="1684"/>
                  </a:lnTo>
                  <a:lnTo>
                    <a:pt x="4108" y="1953"/>
                  </a:lnTo>
                  <a:lnTo>
                    <a:pt x="3939" y="2189"/>
                  </a:lnTo>
                  <a:lnTo>
                    <a:pt x="3535" y="2627"/>
                  </a:lnTo>
                  <a:lnTo>
                    <a:pt x="3131" y="3031"/>
                  </a:lnTo>
                  <a:lnTo>
                    <a:pt x="2929" y="3267"/>
                  </a:lnTo>
                  <a:lnTo>
                    <a:pt x="2795" y="3536"/>
                  </a:lnTo>
                  <a:lnTo>
                    <a:pt x="2761" y="3536"/>
                  </a:lnTo>
                  <a:lnTo>
                    <a:pt x="2761" y="3570"/>
                  </a:lnTo>
                  <a:lnTo>
                    <a:pt x="2795" y="3704"/>
                  </a:lnTo>
                  <a:lnTo>
                    <a:pt x="2862" y="3839"/>
                  </a:lnTo>
                  <a:lnTo>
                    <a:pt x="2626" y="3974"/>
                  </a:lnTo>
                  <a:lnTo>
                    <a:pt x="2458" y="4142"/>
                  </a:lnTo>
                  <a:lnTo>
                    <a:pt x="2222" y="4378"/>
                  </a:lnTo>
                  <a:lnTo>
                    <a:pt x="2155" y="4479"/>
                  </a:lnTo>
                  <a:lnTo>
                    <a:pt x="2087" y="4613"/>
                  </a:lnTo>
                  <a:lnTo>
                    <a:pt x="2087" y="4681"/>
                  </a:lnTo>
                  <a:lnTo>
                    <a:pt x="2121" y="4714"/>
                  </a:lnTo>
                  <a:lnTo>
                    <a:pt x="2188" y="4849"/>
                  </a:lnTo>
                  <a:lnTo>
                    <a:pt x="2256" y="4984"/>
                  </a:lnTo>
                  <a:lnTo>
                    <a:pt x="2188" y="5017"/>
                  </a:lnTo>
                  <a:lnTo>
                    <a:pt x="1953" y="5186"/>
                  </a:lnTo>
                  <a:lnTo>
                    <a:pt x="1717" y="5388"/>
                  </a:lnTo>
                  <a:lnTo>
                    <a:pt x="1515" y="5590"/>
                  </a:lnTo>
                  <a:lnTo>
                    <a:pt x="1313" y="5792"/>
                  </a:lnTo>
                  <a:lnTo>
                    <a:pt x="976" y="6263"/>
                  </a:lnTo>
                  <a:lnTo>
                    <a:pt x="707" y="6768"/>
                  </a:lnTo>
                  <a:lnTo>
                    <a:pt x="505" y="7307"/>
                  </a:lnTo>
                  <a:lnTo>
                    <a:pt x="337" y="7879"/>
                  </a:lnTo>
                  <a:lnTo>
                    <a:pt x="202" y="8451"/>
                  </a:lnTo>
                  <a:lnTo>
                    <a:pt x="101" y="9024"/>
                  </a:lnTo>
                  <a:lnTo>
                    <a:pt x="34" y="9663"/>
                  </a:lnTo>
                  <a:lnTo>
                    <a:pt x="0" y="10303"/>
                  </a:lnTo>
                  <a:lnTo>
                    <a:pt x="0" y="10943"/>
                  </a:lnTo>
                  <a:lnTo>
                    <a:pt x="34" y="11583"/>
                  </a:lnTo>
                  <a:lnTo>
                    <a:pt x="135" y="12189"/>
                  </a:lnTo>
                  <a:lnTo>
                    <a:pt x="202" y="12492"/>
                  </a:lnTo>
                  <a:lnTo>
                    <a:pt x="303" y="12795"/>
                  </a:lnTo>
                  <a:lnTo>
                    <a:pt x="404" y="13064"/>
                  </a:lnTo>
                  <a:lnTo>
                    <a:pt x="572" y="13367"/>
                  </a:lnTo>
                  <a:lnTo>
                    <a:pt x="741" y="13636"/>
                  </a:lnTo>
                  <a:lnTo>
                    <a:pt x="909" y="13906"/>
                  </a:lnTo>
                  <a:lnTo>
                    <a:pt x="1347" y="14377"/>
                  </a:lnTo>
                  <a:lnTo>
                    <a:pt x="1784" y="14848"/>
                  </a:lnTo>
                  <a:lnTo>
                    <a:pt x="2289" y="15286"/>
                  </a:lnTo>
                  <a:lnTo>
                    <a:pt x="2761" y="15690"/>
                  </a:lnTo>
                  <a:lnTo>
                    <a:pt x="3266" y="16027"/>
                  </a:lnTo>
                  <a:lnTo>
                    <a:pt x="3535" y="16161"/>
                  </a:lnTo>
                  <a:lnTo>
                    <a:pt x="3805" y="16296"/>
                  </a:lnTo>
                  <a:lnTo>
                    <a:pt x="4108" y="16363"/>
                  </a:lnTo>
                  <a:lnTo>
                    <a:pt x="4377" y="16431"/>
                  </a:lnTo>
                  <a:lnTo>
                    <a:pt x="4680" y="16397"/>
                  </a:lnTo>
                  <a:lnTo>
                    <a:pt x="4983" y="16330"/>
                  </a:lnTo>
                  <a:lnTo>
                    <a:pt x="5151" y="16262"/>
                  </a:lnTo>
                  <a:lnTo>
                    <a:pt x="5320" y="16195"/>
                  </a:lnTo>
                  <a:lnTo>
                    <a:pt x="5623" y="15926"/>
                  </a:lnTo>
                  <a:lnTo>
                    <a:pt x="5858" y="16161"/>
                  </a:lnTo>
                  <a:lnTo>
                    <a:pt x="6094" y="16397"/>
                  </a:lnTo>
                  <a:lnTo>
                    <a:pt x="6229" y="16532"/>
                  </a:lnTo>
                  <a:lnTo>
                    <a:pt x="6431" y="16633"/>
                  </a:lnTo>
                  <a:lnTo>
                    <a:pt x="6801" y="16835"/>
                  </a:lnTo>
                  <a:lnTo>
                    <a:pt x="6801" y="16532"/>
                  </a:lnTo>
                  <a:lnTo>
                    <a:pt x="6532" y="16330"/>
                  </a:lnTo>
                  <a:lnTo>
                    <a:pt x="6296" y="16128"/>
                  </a:lnTo>
                  <a:lnTo>
                    <a:pt x="6060" y="15926"/>
                  </a:lnTo>
                  <a:lnTo>
                    <a:pt x="5858" y="15690"/>
                  </a:lnTo>
                  <a:lnTo>
                    <a:pt x="6262" y="15151"/>
                  </a:lnTo>
                  <a:lnTo>
                    <a:pt x="6599" y="14714"/>
                  </a:lnTo>
                  <a:lnTo>
                    <a:pt x="6801" y="14411"/>
                  </a:lnTo>
                  <a:lnTo>
                    <a:pt x="6801" y="13906"/>
                  </a:lnTo>
                  <a:lnTo>
                    <a:pt x="6229" y="14680"/>
                  </a:lnTo>
                  <a:lnTo>
                    <a:pt x="5623" y="15387"/>
                  </a:lnTo>
                  <a:lnTo>
                    <a:pt x="5252" y="14815"/>
                  </a:lnTo>
                  <a:lnTo>
                    <a:pt x="4882" y="14175"/>
                  </a:lnTo>
                  <a:lnTo>
                    <a:pt x="4613" y="13636"/>
                  </a:lnTo>
                  <a:lnTo>
                    <a:pt x="4343" y="13064"/>
                  </a:lnTo>
                  <a:lnTo>
                    <a:pt x="4141" y="12525"/>
                  </a:lnTo>
                  <a:lnTo>
                    <a:pt x="3973" y="11987"/>
                  </a:lnTo>
                  <a:lnTo>
                    <a:pt x="3838" y="11414"/>
                  </a:lnTo>
                  <a:lnTo>
                    <a:pt x="3771" y="10842"/>
                  </a:lnTo>
                  <a:lnTo>
                    <a:pt x="3771" y="10236"/>
                  </a:lnTo>
                  <a:lnTo>
                    <a:pt x="3838" y="9630"/>
                  </a:lnTo>
                  <a:lnTo>
                    <a:pt x="3939" y="9057"/>
                  </a:lnTo>
                  <a:lnTo>
                    <a:pt x="4007" y="8754"/>
                  </a:lnTo>
                  <a:lnTo>
                    <a:pt x="4108" y="8519"/>
                  </a:lnTo>
                  <a:lnTo>
                    <a:pt x="4242" y="8249"/>
                  </a:lnTo>
                  <a:lnTo>
                    <a:pt x="4411" y="8047"/>
                  </a:lnTo>
                  <a:lnTo>
                    <a:pt x="4613" y="7845"/>
                  </a:lnTo>
                  <a:lnTo>
                    <a:pt x="4882" y="7677"/>
                  </a:lnTo>
                  <a:lnTo>
                    <a:pt x="5084" y="7576"/>
                  </a:lnTo>
                  <a:lnTo>
                    <a:pt x="5320" y="7509"/>
                  </a:lnTo>
                  <a:lnTo>
                    <a:pt x="5555" y="7441"/>
                  </a:lnTo>
                  <a:lnTo>
                    <a:pt x="5791" y="7408"/>
                  </a:lnTo>
                  <a:lnTo>
                    <a:pt x="6262" y="7374"/>
                  </a:lnTo>
                  <a:lnTo>
                    <a:pt x="6734" y="7374"/>
                  </a:lnTo>
                  <a:lnTo>
                    <a:pt x="6801" y="7408"/>
                  </a:lnTo>
                  <a:lnTo>
                    <a:pt x="6801" y="7004"/>
                  </a:lnTo>
                  <a:lnTo>
                    <a:pt x="6128" y="7004"/>
                  </a:lnTo>
                  <a:lnTo>
                    <a:pt x="5791" y="7037"/>
                  </a:lnTo>
                  <a:lnTo>
                    <a:pt x="5454" y="7105"/>
                  </a:lnTo>
                  <a:lnTo>
                    <a:pt x="5151" y="7206"/>
                  </a:lnTo>
                  <a:lnTo>
                    <a:pt x="4848" y="7340"/>
                  </a:lnTo>
                  <a:lnTo>
                    <a:pt x="4579" y="7475"/>
                  </a:lnTo>
                  <a:lnTo>
                    <a:pt x="4377" y="7610"/>
                  </a:lnTo>
                  <a:lnTo>
                    <a:pt x="4175" y="7812"/>
                  </a:lnTo>
                  <a:lnTo>
                    <a:pt x="4007" y="8014"/>
                  </a:lnTo>
                  <a:lnTo>
                    <a:pt x="3872" y="8249"/>
                  </a:lnTo>
                  <a:lnTo>
                    <a:pt x="3771" y="8485"/>
                  </a:lnTo>
                  <a:lnTo>
                    <a:pt x="3704" y="8721"/>
                  </a:lnTo>
                  <a:lnTo>
                    <a:pt x="3636" y="8990"/>
                  </a:lnTo>
                  <a:lnTo>
                    <a:pt x="3502" y="9529"/>
                  </a:lnTo>
                  <a:lnTo>
                    <a:pt x="3434" y="10202"/>
                  </a:lnTo>
                  <a:lnTo>
                    <a:pt x="3434" y="10876"/>
                  </a:lnTo>
                  <a:lnTo>
                    <a:pt x="3434" y="11212"/>
                  </a:lnTo>
                  <a:lnTo>
                    <a:pt x="3502" y="11549"/>
                  </a:lnTo>
                  <a:lnTo>
                    <a:pt x="3569" y="11886"/>
                  </a:lnTo>
                  <a:lnTo>
                    <a:pt x="3636" y="12222"/>
                  </a:lnTo>
                  <a:lnTo>
                    <a:pt x="3872" y="12795"/>
                  </a:lnTo>
                  <a:lnTo>
                    <a:pt x="4108" y="13401"/>
                  </a:lnTo>
                  <a:lnTo>
                    <a:pt x="4714" y="14512"/>
                  </a:lnTo>
                  <a:lnTo>
                    <a:pt x="5017" y="15084"/>
                  </a:lnTo>
                  <a:lnTo>
                    <a:pt x="5387" y="15623"/>
                  </a:lnTo>
                  <a:lnTo>
                    <a:pt x="5320" y="15690"/>
                  </a:lnTo>
                  <a:lnTo>
                    <a:pt x="5084" y="15926"/>
                  </a:lnTo>
                  <a:lnTo>
                    <a:pt x="4815" y="16027"/>
                  </a:lnTo>
                  <a:lnTo>
                    <a:pt x="4545" y="16094"/>
                  </a:lnTo>
                  <a:lnTo>
                    <a:pt x="4276" y="16094"/>
                  </a:lnTo>
                  <a:lnTo>
                    <a:pt x="3973" y="16027"/>
                  </a:lnTo>
                  <a:lnTo>
                    <a:pt x="3670" y="15892"/>
                  </a:lnTo>
                  <a:lnTo>
                    <a:pt x="3367" y="15724"/>
                  </a:lnTo>
                  <a:lnTo>
                    <a:pt x="3098" y="15522"/>
                  </a:lnTo>
                  <a:lnTo>
                    <a:pt x="2795" y="15286"/>
                  </a:lnTo>
                  <a:lnTo>
                    <a:pt x="2525" y="15050"/>
                  </a:lnTo>
                  <a:lnTo>
                    <a:pt x="1986" y="14545"/>
                  </a:lnTo>
                  <a:lnTo>
                    <a:pt x="1549" y="14040"/>
                  </a:lnTo>
                  <a:lnTo>
                    <a:pt x="1178" y="13636"/>
                  </a:lnTo>
                  <a:lnTo>
                    <a:pt x="1010" y="13401"/>
                  </a:lnTo>
                  <a:lnTo>
                    <a:pt x="842" y="13165"/>
                  </a:lnTo>
                  <a:lnTo>
                    <a:pt x="741" y="12929"/>
                  </a:lnTo>
                  <a:lnTo>
                    <a:pt x="606" y="12660"/>
                  </a:lnTo>
                  <a:lnTo>
                    <a:pt x="539" y="12391"/>
                  </a:lnTo>
                  <a:lnTo>
                    <a:pt x="471" y="12121"/>
                  </a:lnTo>
                  <a:lnTo>
                    <a:pt x="370" y="11549"/>
                  </a:lnTo>
                  <a:lnTo>
                    <a:pt x="337" y="10977"/>
                  </a:lnTo>
                  <a:lnTo>
                    <a:pt x="370" y="10404"/>
                  </a:lnTo>
                  <a:lnTo>
                    <a:pt x="471" y="9259"/>
                  </a:lnTo>
                  <a:lnTo>
                    <a:pt x="539" y="8687"/>
                  </a:lnTo>
                  <a:lnTo>
                    <a:pt x="640" y="8148"/>
                  </a:lnTo>
                  <a:lnTo>
                    <a:pt x="808" y="7610"/>
                  </a:lnTo>
                  <a:lnTo>
                    <a:pt x="976" y="7071"/>
                  </a:lnTo>
                  <a:lnTo>
                    <a:pt x="1246" y="6566"/>
                  </a:lnTo>
                  <a:lnTo>
                    <a:pt x="1549" y="6095"/>
                  </a:lnTo>
                  <a:lnTo>
                    <a:pt x="1717" y="5893"/>
                  </a:lnTo>
                  <a:lnTo>
                    <a:pt x="1919" y="5691"/>
                  </a:lnTo>
                  <a:lnTo>
                    <a:pt x="2155" y="5489"/>
                  </a:lnTo>
                  <a:lnTo>
                    <a:pt x="2391" y="5320"/>
                  </a:lnTo>
                  <a:lnTo>
                    <a:pt x="2458" y="5253"/>
                  </a:lnTo>
                  <a:lnTo>
                    <a:pt x="2458" y="5186"/>
                  </a:lnTo>
                  <a:lnTo>
                    <a:pt x="2593" y="5287"/>
                  </a:lnTo>
                  <a:lnTo>
                    <a:pt x="2626" y="5320"/>
                  </a:lnTo>
                  <a:lnTo>
                    <a:pt x="2660" y="5320"/>
                  </a:lnTo>
                  <a:lnTo>
                    <a:pt x="2727" y="5287"/>
                  </a:lnTo>
                  <a:lnTo>
                    <a:pt x="3199" y="4883"/>
                  </a:lnTo>
                  <a:lnTo>
                    <a:pt x="3333" y="4748"/>
                  </a:lnTo>
                  <a:lnTo>
                    <a:pt x="3401" y="4681"/>
                  </a:lnTo>
                  <a:lnTo>
                    <a:pt x="3434" y="4580"/>
                  </a:lnTo>
                  <a:lnTo>
                    <a:pt x="3401" y="4512"/>
                  </a:lnTo>
                  <a:lnTo>
                    <a:pt x="3266" y="4512"/>
                  </a:lnTo>
                  <a:lnTo>
                    <a:pt x="3165" y="4580"/>
                  </a:lnTo>
                  <a:lnTo>
                    <a:pt x="3030" y="4714"/>
                  </a:lnTo>
                  <a:lnTo>
                    <a:pt x="2660" y="5051"/>
                  </a:lnTo>
                  <a:lnTo>
                    <a:pt x="2559" y="4916"/>
                  </a:lnTo>
                  <a:lnTo>
                    <a:pt x="2727" y="4782"/>
                  </a:lnTo>
                  <a:lnTo>
                    <a:pt x="2828" y="4613"/>
                  </a:lnTo>
                  <a:lnTo>
                    <a:pt x="2997" y="4445"/>
                  </a:lnTo>
                  <a:lnTo>
                    <a:pt x="3131" y="4277"/>
                  </a:lnTo>
                  <a:lnTo>
                    <a:pt x="3165" y="4243"/>
                  </a:lnTo>
                  <a:lnTo>
                    <a:pt x="3333" y="4411"/>
                  </a:lnTo>
                  <a:lnTo>
                    <a:pt x="3502" y="4512"/>
                  </a:lnTo>
                  <a:lnTo>
                    <a:pt x="3670" y="4546"/>
                  </a:lnTo>
                  <a:lnTo>
                    <a:pt x="3838" y="4546"/>
                  </a:lnTo>
                  <a:lnTo>
                    <a:pt x="3939" y="4479"/>
                  </a:lnTo>
                  <a:lnTo>
                    <a:pt x="3973" y="4445"/>
                  </a:lnTo>
                  <a:lnTo>
                    <a:pt x="4007" y="4411"/>
                  </a:lnTo>
                  <a:lnTo>
                    <a:pt x="4108" y="4176"/>
                  </a:lnTo>
                  <a:lnTo>
                    <a:pt x="4242" y="3974"/>
                  </a:lnTo>
                  <a:lnTo>
                    <a:pt x="4411" y="3772"/>
                  </a:lnTo>
                  <a:lnTo>
                    <a:pt x="4613" y="3603"/>
                  </a:lnTo>
                  <a:lnTo>
                    <a:pt x="4882" y="3334"/>
                  </a:lnTo>
                  <a:lnTo>
                    <a:pt x="5118" y="3031"/>
                  </a:lnTo>
                  <a:lnTo>
                    <a:pt x="5353" y="2762"/>
                  </a:lnTo>
                  <a:lnTo>
                    <a:pt x="5555" y="2425"/>
                  </a:lnTo>
                  <a:lnTo>
                    <a:pt x="5589" y="2324"/>
                  </a:lnTo>
                  <a:lnTo>
                    <a:pt x="5522" y="2256"/>
                  </a:lnTo>
                  <a:lnTo>
                    <a:pt x="5454" y="2256"/>
                  </a:lnTo>
                  <a:lnTo>
                    <a:pt x="5387" y="2290"/>
                  </a:lnTo>
                  <a:lnTo>
                    <a:pt x="5286" y="2391"/>
                  </a:lnTo>
                  <a:lnTo>
                    <a:pt x="5252" y="2357"/>
                  </a:lnTo>
                  <a:lnTo>
                    <a:pt x="5623" y="1852"/>
                  </a:lnTo>
                  <a:lnTo>
                    <a:pt x="5993" y="1280"/>
                  </a:lnTo>
                  <a:lnTo>
                    <a:pt x="6666" y="169"/>
                  </a:lnTo>
                  <a:lnTo>
                    <a:pt x="6666" y="102"/>
                  </a:lnTo>
                  <a:lnTo>
                    <a:pt x="6633" y="34"/>
                  </a:lnTo>
                  <a:lnTo>
                    <a:pt x="656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30" name="Google Shape;730;p5"/>
          <p:cNvGrpSpPr/>
          <p:nvPr/>
        </p:nvGrpSpPr>
        <p:grpSpPr>
          <a:xfrm>
            <a:off x="10462960" y="4097384"/>
            <a:ext cx="798488" cy="794037"/>
            <a:chOff x="5944870" y="3341438"/>
            <a:chExt cx="598866" cy="595528"/>
          </a:xfrm>
        </p:grpSpPr>
        <p:sp>
          <p:nvSpPr>
            <p:cNvPr id="731" name="Google Shape;731;p5"/>
            <p:cNvSpPr/>
            <p:nvPr/>
          </p:nvSpPr>
          <p:spPr>
            <a:xfrm>
              <a:off x="5944870" y="3341438"/>
              <a:ext cx="593834" cy="583770"/>
            </a:xfrm>
            <a:custGeom>
              <a:avLst/>
              <a:gdLst/>
              <a:ahLst/>
              <a:cxnLst/>
              <a:rect l="l" t="t" r="r" b="b"/>
              <a:pathLst>
                <a:path w="11919" h="11717" extrusionOk="0">
                  <a:moveTo>
                    <a:pt x="270" y="6532"/>
                  </a:moveTo>
                  <a:lnTo>
                    <a:pt x="303" y="6734"/>
                  </a:lnTo>
                  <a:lnTo>
                    <a:pt x="371" y="6936"/>
                  </a:lnTo>
                  <a:lnTo>
                    <a:pt x="573" y="7273"/>
                  </a:lnTo>
                  <a:lnTo>
                    <a:pt x="808" y="7609"/>
                  </a:lnTo>
                  <a:lnTo>
                    <a:pt x="977" y="7744"/>
                  </a:lnTo>
                  <a:lnTo>
                    <a:pt x="1111" y="7845"/>
                  </a:lnTo>
                  <a:lnTo>
                    <a:pt x="1078" y="8148"/>
                  </a:lnTo>
                  <a:lnTo>
                    <a:pt x="1078" y="8451"/>
                  </a:lnTo>
                  <a:lnTo>
                    <a:pt x="1111" y="8721"/>
                  </a:lnTo>
                  <a:lnTo>
                    <a:pt x="1145" y="9024"/>
                  </a:lnTo>
                  <a:lnTo>
                    <a:pt x="1212" y="9158"/>
                  </a:lnTo>
                  <a:lnTo>
                    <a:pt x="943" y="8956"/>
                  </a:lnTo>
                  <a:lnTo>
                    <a:pt x="707" y="8687"/>
                  </a:lnTo>
                  <a:lnTo>
                    <a:pt x="505" y="8418"/>
                  </a:lnTo>
                  <a:lnTo>
                    <a:pt x="371" y="8115"/>
                  </a:lnTo>
                  <a:lnTo>
                    <a:pt x="270" y="7811"/>
                  </a:lnTo>
                  <a:lnTo>
                    <a:pt x="236" y="7508"/>
                  </a:lnTo>
                  <a:lnTo>
                    <a:pt x="202" y="7205"/>
                  </a:lnTo>
                  <a:lnTo>
                    <a:pt x="236" y="6869"/>
                  </a:lnTo>
                  <a:lnTo>
                    <a:pt x="270" y="6532"/>
                  </a:lnTo>
                  <a:close/>
                  <a:moveTo>
                    <a:pt x="2593" y="1"/>
                  </a:moveTo>
                  <a:lnTo>
                    <a:pt x="2559" y="34"/>
                  </a:lnTo>
                  <a:lnTo>
                    <a:pt x="2222" y="607"/>
                  </a:lnTo>
                  <a:lnTo>
                    <a:pt x="1953" y="1179"/>
                  </a:lnTo>
                  <a:lnTo>
                    <a:pt x="1650" y="1785"/>
                  </a:lnTo>
                  <a:lnTo>
                    <a:pt x="1414" y="2391"/>
                  </a:lnTo>
                  <a:lnTo>
                    <a:pt x="943" y="3637"/>
                  </a:lnTo>
                  <a:lnTo>
                    <a:pt x="539" y="4849"/>
                  </a:lnTo>
                  <a:lnTo>
                    <a:pt x="236" y="5825"/>
                  </a:lnTo>
                  <a:lnTo>
                    <a:pt x="101" y="6364"/>
                  </a:lnTo>
                  <a:lnTo>
                    <a:pt x="0" y="6869"/>
                  </a:lnTo>
                  <a:lnTo>
                    <a:pt x="0" y="7374"/>
                  </a:lnTo>
                  <a:lnTo>
                    <a:pt x="0" y="7643"/>
                  </a:lnTo>
                  <a:lnTo>
                    <a:pt x="68" y="7879"/>
                  </a:lnTo>
                  <a:lnTo>
                    <a:pt x="135" y="8148"/>
                  </a:lnTo>
                  <a:lnTo>
                    <a:pt x="236" y="8384"/>
                  </a:lnTo>
                  <a:lnTo>
                    <a:pt x="371" y="8586"/>
                  </a:lnTo>
                  <a:lnTo>
                    <a:pt x="539" y="8822"/>
                  </a:lnTo>
                  <a:lnTo>
                    <a:pt x="909" y="9192"/>
                  </a:lnTo>
                  <a:lnTo>
                    <a:pt x="1347" y="9562"/>
                  </a:lnTo>
                  <a:lnTo>
                    <a:pt x="1818" y="9865"/>
                  </a:lnTo>
                  <a:lnTo>
                    <a:pt x="2323" y="10135"/>
                  </a:lnTo>
                  <a:lnTo>
                    <a:pt x="2828" y="10370"/>
                  </a:lnTo>
                  <a:lnTo>
                    <a:pt x="3367" y="10572"/>
                  </a:lnTo>
                  <a:lnTo>
                    <a:pt x="4411" y="10909"/>
                  </a:lnTo>
                  <a:lnTo>
                    <a:pt x="5050" y="11077"/>
                  </a:lnTo>
                  <a:lnTo>
                    <a:pt x="5690" y="11212"/>
                  </a:lnTo>
                  <a:lnTo>
                    <a:pt x="6970" y="11414"/>
                  </a:lnTo>
                  <a:lnTo>
                    <a:pt x="8249" y="11582"/>
                  </a:lnTo>
                  <a:lnTo>
                    <a:pt x="9528" y="11717"/>
                  </a:lnTo>
                  <a:lnTo>
                    <a:pt x="9596" y="11717"/>
                  </a:lnTo>
                  <a:lnTo>
                    <a:pt x="9629" y="11650"/>
                  </a:lnTo>
                  <a:lnTo>
                    <a:pt x="9596" y="11549"/>
                  </a:lnTo>
                  <a:lnTo>
                    <a:pt x="9528" y="11515"/>
                  </a:lnTo>
                  <a:lnTo>
                    <a:pt x="7576" y="11313"/>
                  </a:lnTo>
                  <a:lnTo>
                    <a:pt x="6566" y="11178"/>
                  </a:lnTo>
                  <a:lnTo>
                    <a:pt x="5555" y="11010"/>
                  </a:lnTo>
                  <a:lnTo>
                    <a:pt x="4579" y="10774"/>
                  </a:lnTo>
                  <a:lnTo>
                    <a:pt x="4074" y="10640"/>
                  </a:lnTo>
                  <a:lnTo>
                    <a:pt x="3603" y="10471"/>
                  </a:lnTo>
                  <a:lnTo>
                    <a:pt x="3131" y="10303"/>
                  </a:lnTo>
                  <a:lnTo>
                    <a:pt x="2660" y="10067"/>
                  </a:lnTo>
                  <a:lnTo>
                    <a:pt x="2222" y="9865"/>
                  </a:lnTo>
                  <a:lnTo>
                    <a:pt x="1818" y="9596"/>
                  </a:lnTo>
                  <a:lnTo>
                    <a:pt x="1549" y="9226"/>
                  </a:lnTo>
                  <a:lnTo>
                    <a:pt x="1448" y="9057"/>
                  </a:lnTo>
                  <a:lnTo>
                    <a:pt x="1347" y="8822"/>
                  </a:lnTo>
                  <a:lnTo>
                    <a:pt x="1313" y="8620"/>
                  </a:lnTo>
                  <a:lnTo>
                    <a:pt x="1313" y="8384"/>
                  </a:lnTo>
                  <a:lnTo>
                    <a:pt x="1280" y="8148"/>
                  </a:lnTo>
                  <a:lnTo>
                    <a:pt x="1246" y="7912"/>
                  </a:lnTo>
                  <a:lnTo>
                    <a:pt x="1313" y="7879"/>
                  </a:lnTo>
                  <a:lnTo>
                    <a:pt x="1347" y="7811"/>
                  </a:lnTo>
                  <a:lnTo>
                    <a:pt x="1313" y="7744"/>
                  </a:lnTo>
                  <a:lnTo>
                    <a:pt x="1280" y="7710"/>
                  </a:lnTo>
                  <a:lnTo>
                    <a:pt x="1044" y="7542"/>
                  </a:lnTo>
                  <a:lnTo>
                    <a:pt x="876" y="7340"/>
                  </a:lnTo>
                  <a:lnTo>
                    <a:pt x="707" y="7104"/>
                  </a:lnTo>
                  <a:lnTo>
                    <a:pt x="539" y="6869"/>
                  </a:lnTo>
                  <a:lnTo>
                    <a:pt x="472" y="6633"/>
                  </a:lnTo>
                  <a:lnTo>
                    <a:pt x="404" y="6431"/>
                  </a:lnTo>
                  <a:lnTo>
                    <a:pt x="404" y="5960"/>
                  </a:lnTo>
                  <a:lnTo>
                    <a:pt x="640" y="5185"/>
                  </a:lnTo>
                  <a:lnTo>
                    <a:pt x="909" y="4445"/>
                  </a:lnTo>
                  <a:lnTo>
                    <a:pt x="1313" y="3367"/>
                  </a:lnTo>
                  <a:lnTo>
                    <a:pt x="1751" y="2290"/>
                  </a:lnTo>
                  <a:lnTo>
                    <a:pt x="2189" y="1246"/>
                  </a:lnTo>
                  <a:lnTo>
                    <a:pt x="2593" y="169"/>
                  </a:lnTo>
                  <a:lnTo>
                    <a:pt x="2727" y="304"/>
                  </a:lnTo>
                  <a:lnTo>
                    <a:pt x="2896" y="405"/>
                  </a:lnTo>
                  <a:lnTo>
                    <a:pt x="3098" y="506"/>
                  </a:lnTo>
                  <a:lnTo>
                    <a:pt x="3266" y="573"/>
                  </a:lnTo>
                  <a:lnTo>
                    <a:pt x="3670" y="640"/>
                  </a:lnTo>
                  <a:lnTo>
                    <a:pt x="4074" y="708"/>
                  </a:lnTo>
                  <a:lnTo>
                    <a:pt x="4714" y="842"/>
                  </a:lnTo>
                  <a:lnTo>
                    <a:pt x="5353" y="1011"/>
                  </a:lnTo>
                  <a:lnTo>
                    <a:pt x="6599" y="1415"/>
                  </a:lnTo>
                  <a:lnTo>
                    <a:pt x="7879" y="1785"/>
                  </a:lnTo>
                  <a:lnTo>
                    <a:pt x="9192" y="2088"/>
                  </a:lnTo>
                  <a:lnTo>
                    <a:pt x="10505" y="2324"/>
                  </a:lnTo>
                  <a:lnTo>
                    <a:pt x="11818" y="2492"/>
                  </a:lnTo>
                  <a:lnTo>
                    <a:pt x="11885" y="2492"/>
                  </a:lnTo>
                  <a:lnTo>
                    <a:pt x="11919" y="2425"/>
                  </a:lnTo>
                  <a:lnTo>
                    <a:pt x="11885" y="2324"/>
                  </a:lnTo>
                  <a:lnTo>
                    <a:pt x="11818" y="2290"/>
                  </a:lnTo>
                  <a:lnTo>
                    <a:pt x="10572" y="2122"/>
                  </a:lnTo>
                  <a:lnTo>
                    <a:pt x="9326" y="1920"/>
                  </a:lnTo>
                  <a:lnTo>
                    <a:pt x="8114" y="1650"/>
                  </a:lnTo>
                  <a:lnTo>
                    <a:pt x="6902" y="1314"/>
                  </a:lnTo>
                  <a:lnTo>
                    <a:pt x="5825" y="977"/>
                  </a:lnTo>
                  <a:lnTo>
                    <a:pt x="4781" y="674"/>
                  </a:lnTo>
                  <a:lnTo>
                    <a:pt x="4242" y="539"/>
                  </a:lnTo>
                  <a:lnTo>
                    <a:pt x="3670" y="438"/>
                  </a:lnTo>
                  <a:lnTo>
                    <a:pt x="3165" y="304"/>
                  </a:lnTo>
                  <a:lnTo>
                    <a:pt x="2896" y="236"/>
                  </a:lnTo>
                  <a:lnTo>
                    <a:pt x="2626" y="102"/>
                  </a:lnTo>
                  <a:lnTo>
                    <a:pt x="2626" y="68"/>
                  </a:lnTo>
                  <a:lnTo>
                    <a:pt x="2626" y="34"/>
                  </a:lnTo>
                  <a:lnTo>
                    <a:pt x="262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2" name="Google Shape;732;p5"/>
            <p:cNvSpPr/>
            <p:nvPr/>
          </p:nvSpPr>
          <p:spPr>
            <a:xfrm>
              <a:off x="6424611" y="3458870"/>
              <a:ext cx="119126" cy="478097"/>
            </a:xfrm>
            <a:custGeom>
              <a:avLst/>
              <a:gdLst/>
              <a:ahLst/>
              <a:cxnLst/>
              <a:rect l="l" t="t" r="r" b="b"/>
              <a:pathLst>
                <a:path w="2391" h="9596" extrusionOk="0">
                  <a:moveTo>
                    <a:pt x="2323" y="0"/>
                  </a:moveTo>
                  <a:lnTo>
                    <a:pt x="2323" y="34"/>
                  </a:lnTo>
                  <a:lnTo>
                    <a:pt x="2155" y="606"/>
                  </a:lnTo>
                  <a:lnTo>
                    <a:pt x="1987" y="1179"/>
                  </a:lnTo>
                  <a:lnTo>
                    <a:pt x="1751" y="2323"/>
                  </a:lnTo>
                  <a:lnTo>
                    <a:pt x="1515" y="3502"/>
                  </a:lnTo>
                  <a:lnTo>
                    <a:pt x="1246" y="4646"/>
                  </a:lnTo>
                  <a:lnTo>
                    <a:pt x="640" y="7071"/>
                  </a:lnTo>
                  <a:lnTo>
                    <a:pt x="0" y="9495"/>
                  </a:lnTo>
                  <a:lnTo>
                    <a:pt x="0" y="9562"/>
                  </a:lnTo>
                  <a:lnTo>
                    <a:pt x="68" y="9596"/>
                  </a:lnTo>
                  <a:lnTo>
                    <a:pt x="135" y="9596"/>
                  </a:lnTo>
                  <a:lnTo>
                    <a:pt x="169" y="9528"/>
                  </a:lnTo>
                  <a:lnTo>
                    <a:pt x="842" y="7138"/>
                  </a:lnTo>
                  <a:lnTo>
                    <a:pt x="1414" y="4680"/>
                  </a:lnTo>
                  <a:lnTo>
                    <a:pt x="1987" y="2391"/>
                  </a:lnTo>
                  <a:lnTo>
                    <a:pt x="2256" y="1212"/>
                  </a:lnTo>
                  <a:lnTo>
                    <a:pt x="2323" y="640"/>
                  </a:lnTo>
                  <a:lnTo>
                    <a:pt x="2391" y="34"/>
                  </a:lnTo>
                  <a:lnTo>
                    <a:pt x="239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33" name="Google Shape;733;p5"/>
          <p:cNvGrpSpPr/>
          <p:nvPr/>
        </p:nvGrpSpPr>
        <p:grpSpPr>
          <a:xfrm>
            <a:off x="2938929" y="140889"/>
            <a:ext cx="729203" cy="315476"/>
            <a:chOff x="2204197" y="105666"/>
            <a:chExt cx="546902" cy="236607"/>
          </a:xfrm>
        </p:grpSpPr>
        <p:sp>
          <p:nvSpPr>
            <p:cNvPr id="734" name="Google Shape;734;p5"/>
            <p:cNvSpPr/>
            <p:nvPr/>
          </p:nvSpPr>
          <p:spPr>
            <a:xfrm>
              <a:off x="2242760" y="211340"/>
              <a:ext cx="33630" cy="20178"/>
            </a:xfrm>
            <a:custGeom>
              <a:avLst/>
              <a:gdLst/>
              <a:ahLst/>
              <a:cxnLst/>
              <a:rect l="l" t="t" r="r" b="b"/>
              <a:pathLst>
                <a:path w="675" h="405" extrusionOk="0">
                  <a:moveTo>
                    <a:pt x="68" y="1"/>
                  </a:moveTo>
                  <a:lnTo>
                    <a:pt x="35" y="35"/>
                  </a:lnTo>
                  <a:lnTo>
                    <a:pt x="1" y="68"/>
                  </a:lnTo>
                  <a:lnTo>
                    <a:pt x="1" y="102"/>
                  </a:lnTo>
                  <a:lnTo>
                    <a:pt x="35" y="136"/>
                  </a:lnTo>
                  <a:lnTo>
                    <a:pt x="102" y="237"/>
                  </a:lnTo>
                  <a:lnTo>
                    <a:pt x="237" y="304"/>
                  </a:lnTo>
                  <a:lnTo>
                    <a:pt x="371" y="371"/>
                  </a:lnTo>
                  <a:lnTo>
                    <a:pt x="506" y="405"/>
                  </a:lnTo>
                  <a:lnTo>
                    <a:pt x="607" y="405"/>
                  </a:lnTo>
                  <a:lnTo>
                    <a:pt x="674" y="338"/>
                  </a:lnTo>
                  <a:lnTo>
                    <a:pt x="674" y="237"/>
                  </a:lnTo>
                  <a:lnTo>
                    <a:pt x="607" y="136"/>
                  </a:lnTo>
                  <a:lnTo>
                    <a:pt x="472" y="68"/>
                  </a:lnTo>
                  <a:lnTo>
                    <a:pt x="338" y="35"/>
                  </a:lnTo>
                  <a:lnTo>
                    <a:pt x="20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5" name="Google Shape;735;p5"/>
            <p:cNvSpPr/>
            <p:nvPr/>
          </p:nvSpPr>
          <p:spPr>
            <a:xfrm>
              <a:off x="2249486" y="176115"/>
              <a:ext cx="35274" cy="18534"/>
            </a:xfrm>
            <a:custGeom>
              <a:avLst/>
              <a:gdLst/>
              <a:ahLst/>
              <a:cxnLst/>
              <a:rect l="l" t="t" r="r" b="b"/>
              <a:pathLst>
                <a:path w="708" h="372" extrusionOk="0">
                  <a:moveTo>
                    <a:pt x="169" y="1"/>
                  </a:moveTo>
                  <a:lnTo>
                    <a:pt x="34" y="35"/>
                  </a:lnTo>
                  <a:lnTo>
                    <a:pt x="1" y="68"/>
                  </a:lnTo>
                  <a:lnTo>
                    <a:pt x="1" y="102"/>
                  </a:lnTo>
                  <a:lnTo>
                    <a:pt x="34" y="203"/>
                  </a:lnTo>
                  <a:lnTo>
                    <a:pt x="135" y="270"/>
                  </a:lnTo>
                  <a:lnTo>
                    <a:pt x="236" y="304"/>
                  </a:lnTo>
                  <a:lnTo>
                    <a:pt x="506" y="371"/>
                  </a:lnTo>
                  <a:lnTo>
                    <a:pt x="640" y="371"/>
                  </a:lnTo>
                  <a:lnTo>
                    <a:pt x="674" y="338"/>
                  </a:lnTo>
                  <a:lnTo>
                    <a:pt x="708" y="270"/>
                  </a:lnTo>
                  <a:lnTo>
                    <a:pt x="708" y="203"/>
                  </a:lnTo>
                  <a:lnTo>
                    <a:pt x="674" y="169"/>
                  </a:lnTo>
                  <a:lnTo>
                    <a:pt x="640" y="102"/>
                  </a:lnTo>
                  <a:lnTo>
                    <a:pt x="573" y="68"/>
                  </a:lnTo>
                  <a:lnTo>
                    <a:pt x="30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6" name="Google Shape;736;p5"/>
            <p:cNvSpPr/>
            <p:nvPr/>
          </p:nvSpPr>
          <p:spPr>
            <a:xfrm>
              <a:off x="2204197" y="105666"/>
              <a:ext cx="546902" cy="236607"/>
            </a:xfrm>
            <a:custGeom>
              <a:avLst/>
              <a:gdLst/>
              <a:ahLst/>
              <a:cxnLst/>
              <a:rect l="l" t="t" r="r" b="b"/>
              <a:pathLst>
                <a:path w="10977" h="4749" extrusionOk="0">
                  <a:moveTo>
                    <a:pt x="438" y="843"/>
                  </a:moveTo>
                  <a:lnTo>
                    <a:pt x="674" y="910"/>
                  </a:lnTo>
                  <a:lnTo>
                    <a:pt x="876" y="977"/>
                  </a:lnTo>
                  <a:lnTo>
                    <a:pt x="1145" y="944"/>
                  </a:lnTo>
                  <a:lnTo>
                    <a:pt x="1415" y="944"/>
                  </a:lnTo>
                  <a:lnTo>
                    <a:pt x="1684" y="977"/>
                  </a:lnTo>
                  <a:lnTo>
                    <a:pt x="1920" y="1078"/>
                  </a:lnTo>
                  <a:lnTo>
                    <a:pt x="1852" y="1651"/>
                  </a:lnTo>
                  <a:lnTo>
                    <a:pt x="1718" y="2829"/>
                  </a:lnTo>
                  <a:lnTo>
                    <a:pt x="1482" y="2762"/>
                  </a:lnTo>
                  <a:lnTo>
                    <a:pt x="1280" y="2694"/>
                  </a:lnTo>
                  <a:lnTo>
                    <a:pt x="1044" y="2627"/>
                  </a:lnTo>
                  <a:lnTo>
                    <a:pt x="809" y="2560"/>
                  </a:lnTo>
                  <a:lnTo>
                    <a:pt x="573" y="2560"/>
                  </a:lnTo>
                  <a:lnTo>
                    <a:pt x="304" y="2526"/>
                  </a:lnTo>
                  <a:lnTo>
                    <a:pt x="236" y="2526"/>
                  </a:lnTo>
                  <a:lnTo>
                    <a:pt x="270" y="2257"/>
                  </a:lnTo>
                  <a:lnTo>
                    <a:pt x="304" y="1987"/>
                  </a:lnTo>
                  <a:lnTo>
                    <a:pt x="371" y="1449"/>
                  </a:lnTo>
                  <a:lnTo>
                    <a:pt x="438" y="1146"/>
                  </a:lnTo>
                  <a:lnTo>
                    <a:pt x="438" y="977"/>
                  </a:lnTo>
                  <a:lnTo>
                    <a:pt x="438" y="843"/>
                  </a:lnTo>
                  <a:close/>
                  <a:moveTo>
                    <a:pt x="3031" y="236"/>
                  </a:moveTo>
                  <a:lnTo>
                    <a:pt x="3367" y="337"/>
                  </a:lnTo>
                  <a:lnTo>
                    <a:pt x="3704" y="405"/>
                  </a:lnTo>
                  <a:lnTo>
                    <a:pt x="4377" y="438"/>
                  </a:lnTo>
                  <a:lnTo>
                    <a:pt x="6229" y="607"/>
                  </a:lnTo>
                  <a:lnTo>
                    <a:pt x="7980" y="775"/>
                  </a:lnTo>
                  <a:lnTo>
                    <a:pt x="9697" y="977"/>
                  </a:lnTo>
                  <a:lnTo>
                    <a:pt x="9764" y="977"/>
                  </a:lnTo>
                  <a:lnTo>
                    <a:pt x="9933" y="1045"/>
                  </a:lnTo>
                  <a:lnTo>
                    <a:pt x="10067" y="1146"/>
                  </a:lnTo>
                  <a:lnTo>
                    <a:pt x="10303" y="1381"/>
                  </a:lnTo>
                  <a:lnTo>
                    <a:pt x="10471" y="1583"/>
                  </a:lnTo>
                  <a:lnTo>
                    <a:pt x="10572" y="1752"/>
                  </a:lnTo>
                  <a:lnTo>
                    <a:pt x="10640" y="1920"/>
                  </a:lnTo>
                  <a:lnTo>
                    <a:pt x="10707" y="2088"/>
                  </a:lnTo>
                  <a:lnTo>
                    <a:pt x="10741" y="2290"/>
                  </a:lnTo>
                  <a:lnTo>
                    <a:pt x="10741" y="2492"/>
                  </a:lnTo>
                  <a:lnTo>
                    <a:pt x="10673" y="2964"/>
                  </a:lnTo>
                  <a:lnTo>
                    <a:pt x="10640" y="3199"/>
                  </a:lnTo>
                  <a:lnTo>
                    <a:pt x="10572" y="3435"/>
                  </a:lnTo>
                  <a:lnTo>
                    <a:pt x="10471" y="3671"/>
                  </a:lnTo>
                  <a:lnTo>
                    <a:pt x="10337" y="3873"/>
                  </a:lnTo>
                  <a:lnTo>
                    <a:pt x="10202" y="4041"/>
                  </a:lnTo>
                  <a:lnTo>
                    <a:pt x="10067" y="4209"/>
                  </a:lnTo>
                  <a:lnTo>
                    <a:pt x="9865" y="4344"/>
                  </a:lnTo>
                  <a:lnTo>
                    <a:pt x="9663" y="4445"/>
                  </a:lnTo>
                  <a:lnTo>
                    <a:pt x="8687" y="4445"/>
                  </a:lnTo>
                  <a:lnTo>
                    <a:pt x="8249" y="4378"/>
                  </a:lnTo>
                  <a:lnTo>
                    <a:pt x="7778" y="4310"/>
                  </a:lnTo>
                  <a:lnTo>
                    <a:pt x="6902" y="4176"/>
                  </a:lnTo>
                  <a:lnTo>
                    <a:pt x="5993" y="4041"/>
                  </a:lnTo>
                  <a:lnTo>
                    <a:pt x="5118" y="3940"/>
                  </a:lnTo>
                  <a:lnTo>
                    <a:pt x="4243" y="3839"/>
                  </a:lnTo>
                  <a:lnTo>
                    <a:pt x="2896" y="3839"/>
                  </a:lnTo>
                  <a:lnTo>
                    <a:pt x="2492" y="3873"/>
                  </a:lnTo>
                  <a:lnTo>
                    <a:pt x="2458" y="3805"/>
                  </a:lnTo>
                  <a:lnTo>
                    <a:pt x="2391" y="3704"/>
                  </a:lnTo>
                  <a:lnTo>
                    <a:pt x="2256" y="3570"/>
                  </a:lnTo>
                  <a:lnTo>
                    <a:pt x="2088" y="3368"/>
                  </a:lnTo>
                  <a:lnTo>
                    <a:pt x="1987" y="3267"/>
                  </a:lnTo>
                  <a:lnTo>
                    <a:pt x="1920" y="3132"/>
                  </a:lnTo>
                  <a:lnTo>
                    <a:pt x="1886" y="3132"/>
                  </a:lnTo>
                  <a:lnTo>
                    <a:pt x="2021" y="1853"/>
                  </a:lnTo>
                  <a:lnTo>
                    <a:pt x="2054" y="1482"/>
                  </a:lnTo>
                  <a:lnTo>
                    <a:pt x="2122" y="1078"/>
                  </a:lnTo>
                  <a:lnTo>
                    <a:pt x="2122" y="1011"/>
                  </a:lnTo>
                  <a:lnTo>
                    <a:pt x="2122" y="910"/>
                  </a:lnTo>
                  <a:lnTo>
                    <a:pt x="2088" y="843"/>
                  </a:lnTo>
                  <a:lnTo>
                    <a:pt x="2256" y="775"/>
                  </a:lnTo>
                  <a:lnTo>
                    <a:pt x="2391" y="708"/>
                  </a:lnTo>
                  <a:lnTo>
                    <a:pt x="2660" y="506"/>
                  </a:lnTo>
                  <a:lnTo>
                    <a:pt x="3031" y="270"/>
                  </a:lnTo>
                  <a:lnTo>
                    <a:pt x="3031" y="236"/>
                  </a:lnTo>
                  <a:close/>
                  <a:moveTo>
                    <a:pt x="2930" y="1"/>
                  </a:moveTo>
                  <a:lnTo>
                    <a:pt x="2862" y="34"/>
                  </a:lnTo>
                  <a:lnTo>
                    <a:pt x="2324" y="405"/>
                  </a:lnTo>
                  <a:lnTo>
                    <a:pt x="2088" y="573"/>
                  </a:lnTo>
                  <a:lnTo>
                    <a:pt x="2021" y="641"/>
                  </a:lnTo>
                  <a:lnTo>
                    <a:pt x="1953" y="775"/>
                  </a:lnTo>
                  <a:lnTo>
                    <a:pt x="1987" y="809"/>
                  </a:lnTo>
                  <a:lnTo>
                    <a:pt x="1987" y="843"/>
                  </a:lnTo>
                  <a:lnTo>
                    <a:pt x="1785" y="742"/>
                  </a:lnTo>
                  <a:lnTo>
                    <a:pt x="1549" y="708"/>
                  </a:lnTo>
                  <a:lnTo>
                    <a:pt x="910" y="708"/>
                  </a:lnTo>
                  <a:lnTo>
                    <a:pt x="741" y="674"/>
                  </a:lnTo>
                  <a:lnTo>
                    <a:pt x="573" y="641"/>
                  </a:lnTo>
                  <a:lnTo>
                    <a:pt x="405" y="674"/>
                  </a:lnTo>
                  <a:lnTo>
                    <a:pt x="405" y="641"/>
                  </a:lnTo>
                  <a:lnTo>
                    <a:pt x="371" y="607"/>
                  </a:lnTo>
                  <a:lnTo>
                    <a:pt x="371" y="641"/>
                  </a:lnTo>
                  <a:lnTo>
                    <a:pt x="270" y="843"/>
                  </a:lnTo>
                  <a:lnTo>
                    <a:pt x="203" y="1078"/>
                  </a:lnTo>
                  <a:lnTo>
                    <a:pt x="102" y="1516"/>
                  </a:lnTo>
                  <a:lnTo>
                    <a:pt x="34" y="2021"/>
                  </a:lnTo>
                  <a:lnTo>
                    <a:pt x="1" y="2290"/>
                  </a:lnTo>
                  <a:lnTo>
                    <a:pt x="1" y="2560"/>
                  </a:lnTo>
                  <a:lnTo>
                    <a:pt x="68" y="2627"/>
                  </a:lnTo>
                  <a:lnTo>
                    <a:pt x="135" y="2661"/>
                  </a:lnTo>
                  <a:lnTo>
                    <a:pt x="203" y="2728"/>
                  </a:lnTo>
                  <a:lnTo>
                    <a:pt x="337" y="2762"/>
                  </a:lnTo>
                  <a:lnTo>
                    <a:pt x="607" y="2795"/>
                  </a:lnTo>
                  <a:lnTo>
                    <a:pt x="876" y="2829"/>
                  </a:lnTo>
                  <a:lnTo>
                    <a:pt x="1145" y="2930"/>
                  </a:lnTo>
                  <a:lnTo>
                    <a:pt x="1415" y="2997"/>
                  </a:lnTo>
                  <a:lnTo>
                    <a:pt x="1718" y="3065"/>
                  </a:lnTo>
                  <a:lnTo>
                    <a:pt x="1684" y="3267"/>
                  </a:lnTo>
                  <a:lnTo>
                    <a:pt x="1684" y="3334"/>
                  </a:lnTo>
                  <a:lnTo>
                    <a:pt x="1718" y="3334"/>
                  </a:lnTo>
                  <a:lnTo>
                    <a:pt x="1785" y="3368"/>
                  </a:lnTo>
                  <a:lnTo>
                    <a:pt x="1920" y="3536"/>
                  </a:lnTo>
                  <a:lnTo>
                    <a:pt x="2155" y="3839"/>
                  </a:lnTo>
                  <a:lnTo>
                    <a:pt x="2256" y="3974"/>
                  </a:lnTo>
                  <a:lnTo>
                    <a:pt x="2324" y="4007"/>
                  </a:lnTo>
                  <a:lnTo>
                    <a:pt x="2458" y="4007"/>
                  </a:lnTo>
                  <a:lnTo>
                    <a:pt x="2930" y="4075"/>
                  </a:lnTo>
                  <a:lnTo>
                    <a:pt x="3401" y="4142"/>
                  </a:lnTo>
                  <a:lnTo>
                    <a:pt x="4344" y="4176"/>
                  </a:lnTo>
                  <a:lnTo>
                    <a:pt x="5253" y="4209"/>
                  </a:lnTo>
                  <a:lnTo>
                    <a:pt x="5724" y="4243"/>
                  </a:lnTo>
                  <a:lnTo>
                    <a:pt x="6195" y="4277"/>
                  </a:lnTo>
                  <a:lnTo>
                    <a:pt x="7711" y="4546"/>
                  </a:lnTo>
                  <a:lnTo>
                    <a:pt x="8451" y="4647"/>
                  </a:lnTo>
                  <a:lnTo>
                    <a:pt x="9192" y="4681"/>
                  </a:lnTo>
                  <a:lnTo>
                    <a:pt x="9226" y="4748"/>
                  </a:lnTo>
                  <a:lnTo>
                    <a:pt x="9495" y="4748"/>
                  </a:lnTo>
                  <a:lnTo>
                    <a:pt x="9697" y="4714"/>
                  </a:lnTo>
                  <a:lnTo>
                    <a:pt x="9865" y="4647"/>
                  </a:lnTo>
                  <a:lnTo>
                    <a:pt x="10034" y="4580"/>
                  </a:lnTo>
                  <a:lnTo>
                    <a:pt x="10168" y="4445"/>
                  </a:lnTo>
                  <a:lnTo>
                    <a:pt x="10303" y="4344"/>
                  </a:lnTo>
                  <a:lnTo>
                    <a:pt x="10505" y="4007"/>
                  </a:lnTo>
                  <a:lnTo>
                    <a:pt x="10707" y="3671"/>
                  </a:lnTo>
                  <a:lnTo>
                    <a:pt x="10808" y="3267"/>
                  </a:lnTo>
                  <a:lnTo>
                    <a:pt x="10909" y="2896"/>
                  </a:lnTo>
                  <a:lnTo>
                    <a:pt x="10976" y="2560"/>
                  </a:lnTo>
                  <a:lnTo>
                    <a:pt x="10976" y="2290"/>
                  </a:lnTo>
                  <a:lnTo>
                    <a:pt x="10943" y="2021"/>
                  </a:lnTo>
                  <a:lnTo>
                    <a:pt x="10842" y="1752"/>
                  </a:lnTo>
                  <a:lnTo>
                    <a:pt x="10673" y="1482"/>
                  </a:lnTo>
                  <a:lnTo>
                    <a:pt x="10505" y="1213"/>
                  </a:lnTo>
                  <a:lnTo>
                    <a:pt x="10303" y="1045"/>
                  </a:lnTo>
                  <a:lnTo>
                    <a:pt x="10168" y="944"/>
                  </a:lnTo>
                  <a:lnTo>
                    <a:pt x="10067" y="910"/>
                  </a:lnTo>
                  <a:lnTo>
                    <a:pt x="9933" y="876"/>
                  </a:lnTo>
                  <a:lnTo>
                    <a:pt x="9798" y="876"/>
                  </a:lnTo>
                  <a:lnTo>
                    <a:pt x="9798" y="775"/>
                  </a:lnTo>
                  <a:lnTo>
                    <a:pt x="9697" y="742"/>
                  </a:lnTo>
                  <a:lnTo>
                    <a:pt x="6229" y="405"/>
                  </a:lnTo>
                  <a:lnTo>
                    <a:pt x="5455" y="304"/>
                  </a:lnTo>
                  <a:lnTo>
                    <a:pt x="4647" y="203"/>
                  </a:lnTo>
                  <a:lnTo>
                    <a:pt x="4243" y="169"/>
                  </a:lnTo>
                  <a:lnTo>
                    <a:pt x="3839" y="135"/>
                  </a:lnTo>
                  <a:lnTo>
                    <a:pt x="3468" y="169"/>
                  </a:lnTo>
                  <a:lnTo>
                    <a:pt x="3098" y="203"/>
                  </a:lnTo>
                  <a:lnTo>
                    <a:pt x="3098" y="102"/>
                  </a:lnTo>
                  <a:lnTo>
                    <a:pt x="3098" y="34"/>
                  </a:lnTo>
                  <a:lnTo>
                    <a:pt x="303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37" name="Google Shape;737;p5"/>
            <p:cNvSpPr/>
            <p:nvPr/>
          </p:nvSpPr>
          <p:spPr>
            <a:xfrm>
              <a:off x="2593361" y="174471"/>
              <a:ext cx="112449" cy="112400"/>
            </a:xfrm>
            <a:custGeom>
              <a:avLst/>
              <a:gdLst/>
              <a:ahLst/>
              <a:cxnLst/>
              <a:rect l="l" t="t" r="r" b="b"/>
              <a:pathLst>
                <a:path w="2257" h="2256" extrusionOk="0">
                  <a:moveTo>
                    <a:pt x="1213" y="169"/>
                  </a:moveTo>
                  <a:lnTo>
                    <a:pt x="1179" y="202"/>
                  </a:lnTo>
                  <a:lnTo>
                    <a:pt x="1179" y="270"/>
                  </a:lnTo>
                  <a:lnTo>
                    <a:pt x="1213" y="337"/>
                  </a:lnTo>
                  <a:lnTo>
                    <a:pt x="1516" y="337"/>
                  </a:lnTo>
                  <a:lnTo>
                    <a:pt x="1684" y="371"/>
                  </a:lnTo>
                  <a:lnTo>
                    <a:pt x="1819" y="505"/>
                  </a:lnTo>
                  <a:lnTo>
                    <a:pt x="1920" y="640"/>
                  </a:lnTo>
                  <a:lnTo>
                    <a:pt x="1987" y="842"/>
                  </a:lnTo>
                  <a:lnTo>
                    <a:pt x="2021" y="1044"/>
                  </a:lnTo>
                  <a:lnTo>
                    <a:pt x="2021" y="1212"/>
                  </a:lnTo>
                  <a:lnTo>
                    <a:pt x="1987" y="1414"/>
                  </a:lnTo>
                  <a:lnTo>
                    <a:pt x="1920" y="1616"/>
                  </a:lnTo>
                  <a:lnTo>
                    <a:pt x="1819" y="1785"/>
                  </a:lnTo>
                  <a:lnTo>
                    <a:pt x="1650" y="1886"/>
                  </a:lnTo>
                  <a:lnTo>
                    <a:pt x="1482" y="1987"/>
                  </a:lnTo>
                  <a:lnTo>
                    <a:pt x="1314" y="2020"/>
                  </a:lnTo>
                  <a:lnTo>
                    <a:pt x="1112" y="2020"/>
                  </a:lnTo>
                  <a:lnTo>
                    <a:pt x="943" y="1987"/>
                  </a:lnTo>
                  <a:lnTo>
                    <a:pt x="741" y="1886"/>
                  </a:lnTo>
                  <a:lnTo>
                    <a:pt x="573" y="1751"/>
                  </a:lnTo>
                  <a:lnTo>
                    <a:pt x="438" y="1616"/>
                  </a:lnTo>
                  <a:lnTo>
                    <a:pt x="337" y="1448"/>
                  </a:lnTo>
                  <a:lnTo>
                    <a:pt x="270" y="1280"/>
                  </a:lnTo>
                  <a:lnTo>
                    <a:pt x="236" y="1111"/>
                  </a:lnTo>
                  <a:lnTo>
                    <a:pt x="270" y="909"/>
                  </a:lnTo>
                  <a:lnTo>
                    <a:pt x="337" y="741"/>
                  </a:lnTo>
                  <a:lnTo>
                    <a:pt x="472" y="539"/>
                  </a:lnTo>
                  <a:lnTo>
                    <a:pt x="640" y="371"/>
                  </a:lnTo>
                  <a:lnTo>
                    <a:pt x="809" y="270"/>
                  </a:lnTo>
                  <a:lnTo>
                    <a:pt x="1011" y="202"/>
                  </a:lnTo>
                  <a:lnTo>
                    <a:pt x="1213" y="169"/>
                  </a:lnTo>
                  <a:close/>
                  <a:moveTo>
                    <a:pt x="1179" y="0"/>
                  </a:moveTo>
                  <a:lnTo>
                    <a:pt x="1011" y="34"/>
                  </a:lnTo>
                  <a:lnTo>
                    <a:pt x="842" y="101"/>
                  </a:lnTo>
                  <a:lnTo>
                    <a:pt x="674" y="169"/>
                  </a:lnTo>
                  <a:lnTo>
                    <a:pt x="506" y="270"/>
                  </a:lnTo>
                  <a:lnTo>
                    <a:pt x="371" y="404"/>
                  </a:lnTo>
                  <a:lnTo>
                    <a:pt x="270" y="539"/>
                  </a:lnTo>
                  <a:lnTo>
                    <a:pt x="135" y="741"/>
                  </a:lnTo>
                  <a:lnTo>
                    <a:pt x="34" y="943"/>
                  </a:lnTo>
                  <a:lnTo>
                    <a:pt x="1" y="1179"/>
                  </a:lnTo>
                  <a:lnTo>
                    <a:pt x="1" y="1313"/>
                  </a:lnTo>
                  <a:lnTo>
                    <a:pt x="68" y="1414"/>
                  </a:lnTo>
                  <a:lnTo>
                    <a:pt x="203" y="1650"/>
                  </a:lnTo>
                  <a:lnTo>
                    <a:pt x="371" y="1886"/>
                  </a:lnTo>
                  <a:lnTo>
                    <a:pt x="607" y="2088"/>
                  </a:lnTo>
                  <a:lnTo>
                    <a:pt x="876" y="2222"/>
                  </a:lnTo>
                  <a:lnTo>
                    <a:pt x="1112" y="2256"/>
                  </a:lnTo>
                  <a:lnTo>
                    <a:pt x="1347" y="2256"/>
                  </a:lnTo>
                  <a:lnTo>
                    <a:pt x="1549" y="2222"/>
                  </a:lnTo>
                  <a:lnTo>
                    <a:pt x="1785" y="2121"/>
                  </a:lnTo>
                  <a:lnTo>
                    <a:pt x="1953" y="1953"/>
                  </a:lnTo>
                  <a:lnTo>
                    <a:pt x="2088" y="1785"/>
                  </a:lnTo>
                  <a:lnTo>
                    <a:pt x="2189" y="1583"/>
                  </a:lnTo>
                  <a:lnTo>
                    <a:pt x="2256" y="1313"/>
                  </a:lnTo>
                  <a:lnTo>
                    <a:pt x="2256" y="1145"/>
                  </a:lnTo>
                  <a:lnTo>
                    <a:pt x="2223" y="943"/>
                  </a:lnTo>
                  <a:lnTo>
                    <a:pt x="2189" y="707"/>
                  </a:lnTo>
                  <a:lnTo>
                    <a:pt x="2088" y="505"/>
                  </a:lnTo>
                  <a:lnTo>
                    <a:pt x="1987" y="303"/>
                  </a:lnTo>
                  <a:lnTo>
                    <a:pt x="1852" y="169"/>
                  </a:lnTo>
                  <a:lnTo>
                    <a:pt x="1684" y="68"/>
                  </a:lnTo>
                  <a:lnTo>
                    <a:pt x="1516" y="68"/>
                  </a:lnTo>
                  <a:lnTo>
                    <a:pt x="1347" y="34"/>
                  </a:lnTo>
                  <a:lnTo>
                    <a:pt x="117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738" name="Google Shape;738;p5"/>
          <p:cNvGrpSpPr/>
          <p:nvPr/>
        </p:nvGrpSpPr>
        <p:grpSpPr>
          <a:xfrm>
            <a:off x="67" y="-9"/>
            <a:ext cx="2733196" cy="1031127"/>
            <a:chOff x="50" y="-7"/>
            <a:chExt cx="2049897" cy="773345"/>
          </a:xfrm>
        </p:grpSpPr>
        <p:sp>
          <p:nvSpPr>
            <p:cNvPr id="739" name="Google Shape;739;p5"/>
            <p:cNvSpPr/>
            <p:nvPr/>
          </p:nvSpPr>
          <p:spPr>
            <a:xfrm>
              <a:off x="1065205" y="176115"/>
              <a:ext cx="40306" cy="35274"/>
            </a:xfrm>
            <a:custGeom>
              <a:avLst/>
              <a:gdLst/>
              <a:ahLst/>
              <a:cxnLst/>
              <a:rect l="l" t="t" r="r" b="b"/>
              <a:pathLst>
                <a:path w="809" h="708" extrusionOk="0">
                  <a:moveTo>
                    <a:pt x="641" y="1"/>
                  </a:moveTo>
                  <a:lnTo>
                    <a:pt x="573" y="35"/>
                  </a:lnTo>
                  <a:lnTo>
                    <a:pt x="573" y="102"/>
                  </a:lnTo>
                  <a:lnTo>
                    <a:pt x="607" y="237"/>
                  </a:lnTo>
                  <a:lnTo>
                    <a:pt x="573" y="371"/>
                  </a:lnTo>
                  <a:lnTo>
                    <a:pt x="540" y="439"/>
                  </a:lnTo>
                  <a:lnTo>
                    <a:pt x="472" y="472"/>
                  </a:lnTo>
                  <a:lnTo>
                    <a:pt x="338" y="506"/>
                  </a:lnTo>
                  <a:lnTo>
                    <a:pt x="270" y="506"/>
                  </a:lnTo>
                  <a:lnTo>
                    <a:pt x="237" y="472"/>
                  </a:lnTo>
                  <a:lnTo>
                    <a:pt x="203" y="405"/>
                  </a:lnTo>
                  <a:lnTo>
                    <a:pt x="169" y="371"/>
                  </a:lnTo>
                  <a:lnTo>
                    <a:pt x="169" y="304"/>
                  </a:lnTo>
                  <a:lnTo>
                    <a:pt x="203" y="270"/>
                  </a:lnTo>
                  <a:lnTo>
                    <a:pt x="237" y="169"/>
                  </a:lnTo>
                  <a:lnTo>
                    <a:pt x="237" y="102"/>
                  </a:lnTo>
                  <a:lnTo>
                    <a:pt x="102" y="102"/>
                  </a:lnTo>
                  <a:lnTo>
                    <a:pt x="35" y="169"/>
                  </a:lnTo>
                  <a:lnTo>
                    <a:pt x="1" y="270"/>
                  </a:lnTo>
                  <a:lnTo>
                    <a:pt x="1" y="371"/>
                  </a:lnTo>
                  <a:lnTo>
                    <a:pt x="1" y="472"/>
                  </a:lnTo>
                  <a:lnTo>
                    <a:pt x="68" y="573"/>
                  </a:lnTo>
                  <a:lnTo>
                    <a:pt x="169" y="641"/>
                  </a:lnTo>
                  <a:lnTo>
                    <a:pt x="270" y="674"/>
                  </a:lnTo>
                  <a:lnTo>
                    <a:pt x="405" y="708"/>
                  </a:lnTo>
                  <a:lnTo>
                    <a:pt x="506" y="674"/>
                  </a:lnTo>
                  <a:lnTo>
                    <a:pt x="641" y="607"/>
                  </a:lnTo>
                  <a:lnTo>
                    <a:pt x="708" y="506"/>
                  </a:lnTo>
                  <a:lnTo>
                    <a:pt x="775" y="405"/>
                  </a:lnTo>
                  <a:lnTo>
                    <a:pt x="809" y="270"/>
                  </a:lnTo>
                  <a:lnTo>
                    <a:pt x="809" y="136"/>
                  </a:lnTo>
                  <a:lnTo>
                    <a:pt x="742" y="35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0" name="Google Shape;740;p5"/>
            <p:cNvSpPr/>
            <p:nvPr/>
          </p:nvSpPr>
          <p:spPr>
            <a:xfrm>
              <a:off x="1021610" y="129182"/>
              <a:ext cx="125852" cy="119126"/>
            </a:xfrm>
            <a:custGeom>
              <a:avLst/>
              <a:gdLst/>
              <a:ahLst/>
              <a:cxnLst/>
              <a:rect l="l" t="t" r="r" b="b"/>
              <a:pathLst>
                <a:path w="2526" h="2391" extrusionOk="0">
                  <a:moveTo>
                    <a:pt x="2256" y="236"/>
                  </a:moveTo>
                  <a:lnTo>
                    <a:pt x="2256" y="674"/>
                  </a:lnTo>
                  <a:lnTo>
                    <a:pt x="2290" y="1078"/>
                  </a:lnTo>
                  <a:lnTo>
                    <a:pt x="2290" y="1616"/>
                  </a:lnTo>
                  <a:lnTo>
                    <a:pt x="2324" y="2121"/>
                  </a:lnTo>
                  <a:lnTo>
                    <a:pt x="2088" y="2088"/>
                  </a:lnTo>
                  <a:lnTo>
                    <a:pt x="1886" y="2088"/>
                  </a:lnTo>
                  <a:lnTo>
                    <a:pt x="1448" y="2121"/>
                  </a:lnTo>
                  <a:lnTo>
                    <a:pt x="910" y="2121"/>
                  </a:lnTo>
                  <a:lnTo>
                    <a:pt x="640" y="2155"/>
                  </a:lnTo>
                  <a:lnTo>
                    <a:pt x="371" y="2222"/>
                  </a:lnTo>
                  <a:lnTo>
                    <a:pt x="304" y="1684"/>
                  </a:lnTo>
                  <a:lnTo>
                    <a:pt x="236" y="1145"/>
                  </a:lnTo>
                  <a:lnTo>
                    <a:pt x="203" y="707"/>
                  </a:lnTo>
                  <a:lnTo>
                    <a:pt x="169" y="270"/>
                  </a:lnTo>
                  <a:lnTo>
                    <a:pt x="1213" y="270"/>
                  </a:lnTo>
                  <a:lnTo>
                    <a:pt x="2256" y="236"/>
                  </a:lnTo>
                  <a:close/>
                  <a:moveTo>
                    <a:pt x="2256" y="0"/>
                  </a:moveTo>
                  <a:lnTo>
                    <a:pt x="1179" y="34"/>
                  </a:lnTo>
                  <a:lnTo>
                    <a:pt x="674" y="34"/>
                  </a:lnTo>
                  <a:lnTo>
                    <a:pt x="135" y="101"/>
                  </a:lnTo>
                  <a:lnTo>
                    <a:pt x="68" y="135"/>
                  </a:lnTo>
                  <a:lnTo>
                    <a:pt x="68" y="202"/>
                  </a:lnTo>
                  <a:lnTo>
                    <a:pt x="1" y="438"/>
                  </a:lnTo>
                  <a:lnTo>
                    <a:pt x="1" y="674"/>
                  </a:lnTo>
                  <a:lnTo>
                    <a:pt x="34" y="1145"/>
                  </a:lnTo>
                  <a:lnTo>
                    <a:pt x="102" y="1751"/>
                  </a:lnTo>
                  <a:lnTo>
                    <a:pt x="135" y="2020"/>
                  </a:lnTo>
                  <a:lnTo>
                    <a:pt x="203" y="2323"/>
                  </a:lnTo>
                  <a:lnTo>
                    <a:pt x="236" y="2357"/>
                  </a:lnTo>
                  <a:lnTo>
                    <a:pt x="371" y="2357"/>
                  </a:lnTo>
                  <a:lnTo>
                    <a:pt x="607" y="2391"/>
                  </a:lnTo>
                  <a:lnTo>
                    <a:pt x="842" y="2391"/>
                  </a:lnTo>
                  <a:lnTo>
                    <a:pt x="1314" y="2357"/>
                  </a:lnTo>
                  <a:lnTo>
                    <a:pt x="2088" y="2357"/>
                  </a:lnTo>
                  <a:lnTo>
                    <a:pt x="2357" y="2290"/>
                  </a:lnTo>
                  <a:lnTo>
                    <a:pt x="2391" y="2323"/>
                  </a:lnTo>
                  <a:lnTo>
                    <a:pt x="2458" y="2323"/>
                  </a:lnTo>
                  <a:lnTo>
                    <a:pt x="2492" y="2256"/>
                  </a:lnTo>
                  <a:lnTo>
                    <a:pt x="2526" y="2020"/>
                  </a:lnTo>
                  <a:lnTo>
                    <a:pt x="2526" y="1751"/>
                  </a:lnTo>
                  <a:lnTo>
                    <a:pt x="2492" y="1246"/>
                  </a:lnTo>
                  <a:lnTo>
                    <a:pt x="2458" y="640"/>
                  </a:lnTo>
                  <a:lnTo>
                    <a:pt x="2425" y="371"/>
                  </a:lnTo>
                  <a:lnTo>
                    <a:pt x="2357" y="68"/>
                  </a:lnTo>
                  <a:lnTo>
                    <a:pt x="2324" y="34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1" name="Google Shape;741;p5"/>
            <p:cNvSpPr/>
            <p:nvPr/>
          </p:nvSpPr>
          <p:spPr>
            <a:xfrm>
              <a:off x="1345357" y="164407"/>
              <a:ext cx="36968" cy="38612"/>
            </a:xfrm>
            <a:custGeom>
              <a:avLst/>
              <a:gdLst/>
              <a:ahLst/>
              <a:cxnLst/>
              <a:rect l="l" t="t" r="r" b="b"/>
              <a:pathLst>
                <a:path w="742" h="775" extrusionOk="0">
                  <a:moveTo>
                    <a:pt x="304" y="169"/>
                  </a:moveTo>
                  <a:lnTo>
                    <a:pt x="337" y="202"/>
                  </a:lnTo>
                  <a:lnTo>
                    <a:pt x="371" y="236"/>
                  </a:lnTo>
                  <a:lnTo>
                    <a:pt x="506" y="236"/>
                  </a:lnTo>
                  <a:lnTo>
                    <a:pt x="539" y="404"/>
                  </a:lnTo>
                  <a:lnTo>
                    <a:pt x="506" y="472"/>
                  </a:lnTo>
                  <a:lnTo>
                    <a:pt x="472" y="539"/>
                  </a:lnTo>
                  <a:lnTo>
                    <a:pt x="438" y="573"/>
                  </a:lnTo>
                  <a:lnTo>
                    <a:pt x="371" y="606"/>
                  </a:lnTo>
                  <a:lnTo>
                    <a:pt x="304" y="573"/>
                  </a:lnTo>
                  <a:lnTo>
                    <a:pt x="236" y="539"/>
                  </a:lnTo>
                  <a:lnTo>
                    <a:pt x="203" y="472"/>
                  </a:lnTo>
                  <a:lnTo>
                    <a:pt x="169" y="404"/>
                  </a:lnTo>
                  <a:lnTo>
                    <a:pt x="203" y="270"/>
                  </a:lnTo>
                  <a:lnTo>
                    <a:pt x="304" y="169"/>
                  </a:lnTo>
                  <a:close/>
                  <a:moveTo>
                    <a:pt x="304" y="0"/>
                  </a:moveTo>
                  <a:lnTo>
                    <a:pt x="169" y="68"/>
                  </a:lnTo>
                  <a:lnTo>
                    <a:pt x="68" y="169"/>
                  </a:lnTo>
                  <a:lnTo>
                    <a:pt x="0" y="303"/>
                  </a:lnTo>
                  <a:lnTo>
                    <a:pt x="0" y="438"/>
                  </a:lnTo>
                  <a:lnTo>
                    <a:pt x="34" y="573"/>
                  </a:lnTo>
                  <a:lnTo>
                    <a:pt x="101" y="707"/>
                  </a:lnTo>
                  <a:lnTo>
                    <a:pt x="236" y="775"/>
                  </a:lnTo>
                  <a:lnTo>
                    <a:pt x="506" y="775"/>
                  </a:lnTo>
                  <a:lnTo>
                    <a:pt x="607" y="707"/>
                  </a:lnTo>
                  <a:lnTo>
                    <a:pt x="708" y="573"/>
                  </a:lnTo>
                  <a:lnTo>
                    <a:pt x="741" y="404"/>
                  </a:lnTo>
                  <a:lnTo>
                    <a:pt x="708" y="236"/>
                  </a:lnTo>
                  <a:lnTo>
                    <a:pt x="674" y="101"/>
                  </a:lnTo>
                  <a:lnTo>
                    <a:pt x="607" y="68"/>
                  </a:lnTo>
                  <a:lnTo>
                    <a:pt x="573" y="34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2" name="Google Shape;742;p5"/>
            <p:cNvSpPr/>
            <p:nvPr/>
          </p:nvSpPr>
          <p:spPr>
            <a:xfrm>
              <a:off x="1081995" y="-7"/>
              <a:ext cx="16840" cy="114143"/>
            </a:xfrm>
            <a:custGeom>
              <a:avLst/>
              <a:gdLst/>
              <a:ahLst/>
              <a:cxnLst/>
              <a:rect l="l" t="t" r="r" b="b"/>
              <a:pathLst>
                <a:path w="338" h="2291" extrusionOk="0">
                  <a:moveTo>
                    <a:pt x="34" y="1"/>
                  </a:moveTo>
                  <a:lnTo>
                    <a:pt x="1" y="270"/>
                  </a:lnTo>
                  <a:lnTo>
                    <a:pt x="1" y="506"/>
                  </a:lnTo>
                  <a:lnTo>
                    <a:pt x="34" y="1044"/>
                  </a:lnTo>
                  <a:lnTo>
                    <a:pt x="68" y="1650"/>
                  </a:lnTo>
                  <a:lnTo>
                    <a:pt x="102" y="1953"/>
                  </a:lnTo>
                  <a:lnTo>
                    <a:pt x="169" y="2223"/>
                  </a:lnTo>
                  <a:lnTo>
                    <a:pt x="203" y="2290"/>
                  </a:lnTo>
                  <a:lnTo>
                    <a:pt x="270" y="2290"/>
                  </a:lnTo>
                  <a:lnTo>
                    <a:pt x="304" y="2256"/>
                  </a:lnTo>
                  <a:lnTo>
                    <a:pt x="304" y="2223"/>
                  </a:lnTo>
                  <a:lnTo>
                    <a:pt x="337" y="1920"/>
                  </a:lnTo>
                  <a:lnTo>
                    <a:pt x="304" y="1617"/>
                  </a:lnTo>
                  <a:lnTo>
                    <a:pt x="236" y="1011"/>
                  </a:lnTo>
                  <a:lnTo>
                    <a:pt x="203" y="506"/>
                  </a:lnTo>
                  <a:lnTo>
                    <a:pt x="203" y="236"/>
                  </a:lnTo>
                  <a:lnTo>
                    <a:pt x="13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3" name="Google Shape;743;p5"/>
            <p:cNvSpPr/>
            <p:nvPr/>
          </p:nvSpPr>
          <p:spPr>
            <a:xfrm>
              <a:off x="1360453" y="-7"/>
              <a:ext cx="124158" cy="110755"/>
            </a:xfrm>
            <a:custGeom>
              <a:avLst/>
              <a:gdLst/>
              <a:ahLst/>
              <a:cxnLst/>
              <a:rect l="l" t="t" r="r" b="b"/>
              <a:pathLst>
                <a:path w="2492" h="2223" extrusionOk="0">
                  <a:moveTo>
                    <a:pt x="1" y="1"/>
                  </a:moveTo>
                  <a:lnTo>
                    <a:pt x="1" y="539"/>
                  </a:lnTo>
                  <a:lnTo>
                    <a:pt x="34" y="1078"/>
                  </a:lnTo>
                  <a:lnTo>
                    <a:pt x="102" y="1617"/>
                  </a:lnTo>
                  <a:lnTo>
                    <a:pt x="203" y="2155"/>
                  </a:lnTo>
                  <a:lnTo>
                    <a:pt x="236" y="2223"/>
                  </a:lnTo>
                  <a:lnTo>
                    <a:pt x="304" y="2223"/>
                  </a:lnTo>
                  <a:lnTo>
                    <a:pt x="371" y="2189"/>
                  </a:lnTo>
                  <a:lnTo>
                    <a:pt x="405" y="2122"/>
                  </a:lnTo>
                  <a:lnTo>
                    <a:pt x="405" y="2054"/>
                  </a:lnTo>
                  <a:lnTo>
                    <a:pt x="876" y="2122"/>
                  </a:lnTo>
                  <a:lnTo>
                    <a:pt x="1347" y="2155"/>
                  </a:lnTo>
                  <a:lnTo>
                    <a:pt x="1852" y="2122"/>
                  </a:lnTo>
                  <a:lnTo>
                    <a:pt x="2088" y="2088"/>
                  </a:lnTo>
                  <a:lnTo>
                    <a:pt x="2290" y="2054"/>
                  </a:lnTo>
                  <a:lnTo>
                    <a:pt x="2357" y="1987"/>
                  </a:lnTo>
                  <a:lnTo>
                    <a:pt x="2357" y="1920"/>
                  </a:lnTo>
                  <a:lnTo>
                    <a:pt x="2425" y="1920"/>
                  </a:lnTo>
                  <a:lnTo>
                    <a:pt x="2458" y="1886"/>
                  </a:lnTo>
                  <a:lnTo>
                    <a:pt x="2458" y="1852"/>
                  </a:lnTo>
                  <a:lnTo>
                    <a:pt x="2492" y="943"/>
                  </a:lnTo>
                  <a:lnTo>
                    <a:pt x="2425" y="1"/>
                  </a:lnTo>
                  <a:lnTo>
                    <a:pt x="2256" y="1"/>
                  </a:lnTo>
                  <a:lnTo>
                    <a:pt x="2223" y="472"/>
                  </a:lnTo>
                  <a:lnTo>
                    <a:pt x="2223" y="943"/>
                  </a:lnTo>
                  <a:lnTo>
                    <a:pt x="2256" y="1415"/>
                  </a:lnTo>
                  <a:lnTo>
                    <a:pt x="2290" y="1852"/>
                  </a:lnTo>
                  <a:lnTo>
                    <a:pt x="2324" y="1886"/>
                  </a:lnTo>
                  <a:lnTo>
                    <a:pt x="2290" y="1886"/>
                  </a:lnTo>
                  <a:lnTo>
                    <a:pt x="2054" y="1852"/>
                  </a:lnTo>
                  <a:lnTo>
                    <a:pt x="1819" y="1886"/>
                  </a:lnTo>
                  <a:lnTo>
                    <a:pt x="371" y="1886"/>
                  </a:lnTo>
                  <a:lnTo>
                    <a:pt x="270" y="943"/>
                  </a:lnTo>
                  <a:lnTo>
                    <a:pt x="20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4" name="Google Shape;744;p5"/>
            <p:cNvSpPr/>
            <p:nvPr/>
          </p:nvSpPr>
          <p:spPr>
            <a:xfrm>
              <a:off x="105723" y="-7"/>
              <a:ext cx="124207" cy="23566"/>
            </a:xfrm>
            <a:custGeom>
              <a:avLst/>
              <a:gdLst/>
              <a:ahLst/>
              <a:cxnLst/>
              <a:rect l="l" t="t" r="r" b="b"/>
              <a:pathLst>
                <a:path w="2493" h="473" extrusionOk="0">
                  <a:moveTo>
                    <a:pt x="1" y="1"/>
                  </a:moveTo>
                  <a:lnTo>
                    <a:pt x="34" y="337"/>
                  </a:lnTo>
                  <a:lnTo>
                    <a:pt x="68" y="405"/>
                  </a:lnTo>
                  <a:lnTo>
                    <a:pt x="169" y="405"/>
                  </a:lnTo>
                  <a:lnTo>
                    <a:pt x="203" y="371"/>
                  </a:lnTo>
                  <a:lnTo>
                    <a:pt x="439" y="438"/>
                  </a:lnTo>
                  <a:lnTo>
                    <a:pt x="674" y="472"/>
                  </a:lnTo>
                  <a:lnTo>
                    <a:pt x="1213" y="472"/>
                  </a:lnTo>
                  <a:lnTo>
                    <a:pt x="1752" y="405"/>
                  </a:lnTo>
                  <a:lnTo>
                    <a:pt x="2257" y="304"/>
                  </a:lnTo>
                  <a:lnTo>
                    <a:pt x="2257" y="337"/>
                  </a:lnTo>
                  <a:lnTo>
                    <a:pt x="2324" y="405"/>
                  </a:lnTo>
                  <a:lnTo>
                    <a:pt x="2391" y="438"/>
                  </a:lnTo>
                  <a:lnTo>
                    <a:pt x="2459" y="405"/>
                  </a:lnTo>
                  <a:lnTo>
                    <a:pt x="2492" y="371"/>
                  </a:lnTo>
                  <a:lnTo>
                    <a:pt x="2492" y="304"/>
                  </a:lnTo>
                  <a:lnTo>
                    <a:pt x="2425" y="1"/>
                  </a:lnTo>
                  <a:lnTo>
                    <a:pt x="2223" y="1"/>
                  </a:lnTo>
                  <a:lnTo>
                    <a:pt x="2257" y="135"/>
                  </a:lnTo>
                  <a:lnTo>
                    <a:pt x="1179" y="236"/>
                  </a:lnTo>
                  <a:lnTo>
                    <a:pt x="708" y="270"/>
                  </a:lnTo>
                  <a:lnTo>
                    <a:pt x="439" y="270"/>
                  </a:lnTo>
                  <a:lnTo>
                    <a:pt x="203" y="304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5" name="Google Shape;745;p5"/>
            <p:cNvSpPr/>
            <p:nvPr/>
          </p:nvSpPr>
          <p:spPr>
            <a:xfrm>
              <a:off x="1311826" y="119118"/>
              <a:ext cx="115787" cy="119126"/>
            </a:xfrm>
            <a:custGeom>
              <a:avLst/>
              <a:gdLst/>
              <a:ahLst/>
              <a:cxnLst/>
              <a:rect l="l" t="t" r="r" b="b"/>
              <a:pathLst>
                <a:path w="2324" h="2391" extrusionOk="0">
                  <a:moveTo>
                    <a:pt x="1515" y="0"/>
                  </a:moveTo>
                  <a:lnTo>
                    <a:pt x="909" y="34"/>
                  </a:lnTo>
                  <a:lnTo>
                    <a:pt x="202" y="34"/>
                  </a:lnTo>
                  <a:lnTo>
                    <a:pt x="0" y="101"/>
                  </a:lnTo>
                  <a:lnTo>
                    <a:pt x="0" y="135"/>
                  </a:lnTo>
                  <a:lnTo>
                    <a:pt x="67" y="202"/>
                  </a:lnTo>
                  <a:lnTo>
                    <a:pt x="168" y="236"/>
                  </a:lnTo>
                  <a:lnTo>
                    <a:pt x="370" y="270"/>
                  </a:lnTo>
                  <a:lnTo>
                    <a:pt x="1414" y="270"/>
                  </a:lnTo>
                  <a:lnTo>
                    <a:pt x="2020" y="202"/>
                  </a:lnTo>
                  <a:lnTo>
                    <a:pt x="2020" y="202"/>
                  </a:lnTo>
                  <a:lnTo>
                    <a:pt x="1987" y="438"/>
                  </a:lnTo>
                  <a:lnTo>
                    <a:pt x="2020" y="640"/>
                  </a:lnTo>
                  <a:lnTo>
                    <a:pt x="2054" y="1078"/>
                  </a:lnTo>
                  <a:lnTo>
                    <a:pt x="2054" y="1583"/>
                  </a:lnTo>
                  <a:lnTo>
                    <a:pt x="2088" y="1852"/>
                  </a:lnTo>
                  <a:lnTo>
                    <a:pt x="2121" y="2121"/>
                  </a:lnTo>
                  <a:lnTo>
                    <a:pt x="977" y="2155"/>
                  </a:lnTo>
                  <a:lnTo>
                    <a:pt x="539" y="2121"/>
                  </a:lnTo>
                  <a:lnTo>
                    <a:pt x="370" y="2155"/>
                  </a:lnTo>
                  <a:lnTo>
                    <a:pt x="269" y="2222"/>
                  </a:lnTo>
                  <a:lnTo>
                    <a:pt x="202" y="2256"/>
                  </a:lnTo>
                  <a:lnTo>
                    <a:pt x="202" y="2290"/>
                  </a:lnTo>
                  <a:lnTo>
                    <a:pt x="269" y="2323"/>
                  </a:lnTo>
                  <a:lnTo>
                    <a:pt x="370" y="2357"/>
                  </a:lnTo>
                  <a:lnTo>
                    <a:pt x="572" y="2391"/>
                  </a:lnTo>
                  <a:lnTo>
                    <a:pt x="1583" y="2391"/>
                  </a:lnTo>
                  <a:lnTo>
                    <a:pt x="2222" y="2357"/>
                  </a:lnTo>
                  <a:lnTo>
                    <a:pt x="2290" y="2323"/>
                  </a:lnTo>
                  <a:lnTo>
                    <a:pt x="2323" y="2290"/>
                  </a:lnTo>
                  <a:lnTo>
                    <a:pt x="2323" y="2222"/>
                  </a:lnTo>
                  <a:lnTo>
                    <a:pt x="2290" y="2155"/>
                  </a:lnTo>
                  <a:lnTo>
                    <a:pt x="2323" y="1886"/>
                  </a:lnTo>
                  <a:lnTo>
                    <a:pt x="2290" y="1616"/>
                  </a:lnTo>
                  <a:lnTo>
                    <a:pt x="2256" y="1044"/>
                  </a:lnTo>
                  <a:lnTo>
                    <a:pt x="2256" y="606"/>
                  </a:lnTo>
                  <a:lnTo>
                    <a:pt x="2222" y="404"/>
                  </a:lnTo>
                  <a:lnTo>
                    <a:pt x="2189" y="202"/>
                  </a:lnTo>
                  <a:lnTo>
                    <a:pt x="2222" y="135"/>
                  </a:lnTo>
                  <a:lnTo>
                    <a:pt x="2222" y="67"/>
                  </a:lnTo>
                  <a:lnTo>
                    <a:pt x="2189" y="34"/>
                  </a:lnTo>
                  <a:lnTo>
                    <a:pt x="212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6" name="Google Shape;746;p5"/>
            <p:cNvSpPr/>
            <p:nvPr/>
          </p:nvSpPr>
          <p:spPr>
            <a:xfrm>
              <a:off x="1276602" y="52007"/>
              <a:ext cx="30242" cy="33580"/>
            </a:xfrm>
            <a:custGeom>
              <a:avLst/>
              <a:gdLst/>
              <a:ahLst/>
              <a:cxnLst/>
              <a:rect l="l" t="t" r="r" b="b"/>
              <a:pathLst>
                <a:path w="607" h="674" extrusionOk="0">
                  <a:moveTo>
                    <a:pt x="202" y="0"/>
                  </a:moveTo>
                  <a:lnTo>
                    <a:pt x="101" y="34"/>
                  </a:lnTo>
                  <a:lnTo>
                    <a:pt x="34" y="101"/>
                  </a:lnTo>
                  <a:lnTo>
                    <a:pt x="0" y="202"/>
                  </a:lnTo>
                  <a:lnTo>
                    <a:pt x="0" y="270"/>
                  </a:lnTo>
                  <a:lnTo>
                    <a:pt x="34" y="337"/>
                  </a:lnTo>
                  <a:lnTo>
                    <a:pt x="101" y="371"/>
                  </a:lnTo>
                  <a:lnTo>
                    <a:pt x="202" y="404"/>
                  </a:lnTo>
                  <a:lnTo>
                    <a:pt x="438" y="404"/>
                  </a:lnTo>
                  <a:lnTo>
                    <a:pt x="438" y="472"/>
                  </a:lnTo>
                  <a:lnTo>
                    <a:pt x="404" y="573"/>
                  </a:lnTo>
                  <a:lnTo>
                    <a:pt x="438" y="640"/>
                  </a:lnTo>
                  <a:lnTo>
                    <a:pt x="471" y="674"/>
                  </a:lnTo>
                  <a:lnTo>
                    <a:pt x="505" y="674"/>
                  </a:lnTo>
                  <a:lnTo>
                    <a:pt x="572" y="573"/>
                  </a:lnTo>
                  <a:lnTo>
                    <a:pt x="606" y="472"/>
                  </a:lnTo>
                  <a:lnTo>
                    <a:pt x="606" y="270"/>
                  </a:lnTo>
                  <a:lnTo>
                    <a:pt x="606" y="202"/>
                  </a:lnTo>
                  <a:lnTo>
                    <a:pt x="539" y="169"/>
                  </a:lnTo>
                  <a:lnTo>
                    <a:pt x="505" y="202"/>
                  </a:lnTo>
                  <a:lnTo>
                    <a:pt x="337" y="270"/>
                  </a:lnTo>
                  <a:lnTo>
                    <a:pt x="168" y="270"/>
                  </a:lnTo>
                  <a:lnTo>
                    <a:pt x="135" y="236"/>
                  </a:lnTo>
                  <a:lnTo>
                    <a:pt x="168" y="169"/>
                  </a:lnTo>
                  <a:lnTo>
                    <a:pt x="202" y="135"/>
                  </a:lnTo>
                  <a:lnTo>
                    <a:pt x="505" y="135"/>
                  </a:lnTo>
                  <a:lnTo>
                    <a:pt x="505" y="169"/>
                  </a:lnTo>
                  <a:lnTo>
                    <a:pt x="572" y="169"/>
                  </a:lnTo>
                  <a:lnTo>
                    <a:pt x="606" y="135"/>
                  </a:lnTo>
                  <a:lnTo>
                    <a:pt x="539" y="68"/>
                  </a:lnTo>
                  <a:lnTo>
                    <a:pt x="471" y="34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7" name="Google Shape;747;p5"/>
            <p:cNvSpPr/>
            <p:nvPr/>
          </p:nvSpPr>
          <p:spPr>
            <a:xfrm>
              <a:off x="1090365" y="-7"/>
              <a:ext cx="115837" cy="112449"/>
            </a:xfrm>
            <a:custGeom>
              <a:avLst/>
              <a:gdLst/>
              <a:ahLst/>
              <a:cxnLst/>
              <a:rect l="l" t="t" r="r" b="b"/>
              <a:pathLst>
                <a:path w="2325" h="2257" extrusionOk="0">
                  <a:moveTo>
                    <a:pt x="1" y="1"/>
                  </a:moveTo>
                  <a:lnTo>
                    <a:pt x="169" y="102"/>
                  </a:lnTo>
                  <a:lnTo>
                    <a:pt x="371" y="135"/>
                  </a:lnTo>
                  <a:lnTo>
                    <a:pt x="775" y="135"/>
                  </a:lnTo>
                  <a:lnTo>
                    <a:pt x="1415" y="102"/>
                  </a:lnTo>
                  <a:lnTo>
                    <a:pt x="2021" y="68"/>
                  </a:lnTo>
                  <a:lnTo>
                    <a:pt x="2021" y="68"/>
                  </a:lnTo>
                  <a:lnTo>
                    <a:pt x="1987" y="270"/>
                  </a:lnTo>
                  <a:lnTo>
                    <a:pt x="2021" y="506"/>
                  </a:lnTo>
                  <a:lnTo>
                    <a:pt x="2055" y="910"/>
                  </a:lnTo>
                  <a:lnTo>
                    <a:pt x="2055" y="1448"/>
                  </a:lnTo>
                  <a:lnTo>
                    <a:pt x="2088" y="1718"/>
                  </a:lnTo>
                  <a:lnTo>
                    <a:pt x="2122" y="1987"/>
                  </a:lnTo>
                  <a:lnTo>
                    <a:pt x="573" y="1987"/>
                  </a:lnTo>
                  <a:lnTo>
                    <a:pt x="371" y="2021"/>
                  </a:lnTo>
                  <a:lnTo>
                    <a:pt x="270" y="2054"/>
                  </a:lnTo>
                  <a:lnTo>
                    <a:pt x="203" y="2122"/>
                  </a:lnTo>
                  <a:lnTo>
                    <a:pt x="270" y="2189"/>
                  </a:lnTo>
                  <a:lnTo>
                    <a:pt x="371" y="2223"/>
                  </a:lnTo>
                  <a:lnTo>
                    <a:pt x="573" y="2256"/>
                  </a:lnTo>
                  <a:lnTo>
                    <a:pt x="977" y="2223"/>
                  </a:lnTo>
                  <a:lnTo>
                    <a:pt x="2223" y="2223"/>
                  </a:lnTo>
                  <a:lnTo>
                    <a:pt x="2290" y="2189"/>
                  </a:lnTo>
                  <a:lnTo>
                    <a:pt x="2324" y="2122"/>
                  </a:lnTo>
                  <a:lnTo>
                    <a:pt x="2324" y="2088"/>
                  </a:lnTo>
                  <a:lnTo>
                    <a:pt x="2290" y="2021"/>
                  </a:lnTo>
                  <a:lnTo>
                    <a:pt x="2324" y="1751"/>
                  </a:lnTo>
                  <a:lnTo>
                    <a:pt x="2290" y="1448"/>
                  </a:lnTo>
                  <a:lnTo>
                    <a:pt x="2257" y="910"/>
                  </a:lnTo>
                  <a:lnTo>
                    <a:pt x="2257" y="472"/>
                  </a:lnTo>
                  <a:lnTo>
                    <a:pt x="2223" y="236"/>
                  </a:lnTo>
                  <a:lnTo>
                    <a:pt x="2189" y="34"/>
                  </a:lnTo>
                  <a:lnTo>
                    <a:pt x="222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8" name="Google Shape;748;p5"/>
            <p:cNvSpPr/>
            <p:nvPr/>
          </p:nvSpPr>
          <p:spPr>
            <a:xfrm>
              <a:off x="1219555" y="-7"/>
              <a:ext cx="16840" cy="104079"/>
            </a:xfrm>
            <a:custGeom>
              <a:avLst/>
              <a:gdLst/>
              <a:ahLst/>
              <a:cxnLst/>
              <a:rect l="l" t="t" r="r" b="b"/>
              <a:pathLst>
                <a:path w="338" h="2089" extrusionOk="0">
                  <a:moveTo>
                    <a:pt x="34" y="1"/>
                  </a:moveTo>
                  <a:lnTo>
                    <a:pt x="0" y="405"/>
                  </a:lnTo>
                  <a:lnTo>
                    <a:pt x="0" y="809"/>
                  </a:lnTo>
                  <a:lnTo>
                    <a:pt x="34" y="1448"/>
                  </a:lnTo>
                  <a:lnTo>
                    <a:pt x="101" y="1751"/>
                  </a:lnTo>
                  <a:lnTo>
                    <a:pt x="169" y="2021"/>
                  </a:lnTo>
                  <a:lnTo>
                    <a:pt x="202" y="2088"/>
                  </a:lnTo>
                  <a:lnTo>
                    <a:pt x="270" y="2088"/>
                  </a:lnTo>
                  <a:lnTo>
                    <a:pt x="303" y="2054"/>
                  </a:lnTo>
                  <a:lnTo>
                    <a:pt x="337" y="1987"/>
                  </a:lnTo>
                  <a:lnTo>
                    <a:pt x="337" y="1718"/>
                  </a:lnTo>
                  <a:lnTo>
                    <a:pt x="303" y="1415"/>
                  </a:lnTo>
                  <a:lnTo>
                    <a:pt x="236" y="809"/>
                  </a:lnTo>
                  <a:lnTo>
                    <a:pt x="236" y="405"/>
                  </a:lnTo>
                  <a:lnTo>
                    <a:pt x="2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49" name="Google Shape;749;p5"/>
            <p:cNvSpPr/>
            <p:nvPr/>
          </p:nvSpPr>
          <p:spPr>
            <a:xfrm>
              <a:off x="1501351" y="-7"/>
              <a:ext cx="124207" cy="94015"/>
            </a:xfrm>
            <a:custGeom>
              <a:avLst/>
              <a:gdLst/>
              <a:ahLst/>
              <a:cxnLst/>
              <a:rect l="l" t="t" r="r" b="b"/>
              <a:pathLst>
                <a:path w="2493" h="1887" extrusionOk="0">
                  <a:moveTo>
                    <a:pt x="1" y="1"/>
                  </a:moveTo>
                  <a:lnTo>
                    <a:pt x="1" y="304"/>
                  </a:lnTo>
                  <a:lnTo>
                    <a:pt x="1" y="640"/>
                  </a:lnTo>
                  <a:lnTo>
                    <a:pt x="68" y="1213"/>
                  </a:lnTo>
                  <a:lnTo>
                    <a:pt x="102" y="1516"/>
                  </a:lnTo>
                  <a:lnTo>
                    <a:pt x="203" y="1785"/>
                  </a:lnTo>
                  <a:lnTo>
                    <a:pt x="203" y="1819"/>
                  </a:lnTo>
                  <a:lnTo>
                    <a:pt x="236" y="1852"/>
                  </a:lnTo>
                  <a:lnTo>
                    <a:pt x="304" y="1819"/>
                  </a:lnTo>
                  <a:lnTo>
                    <a:pt x="337" y="1852"/>
                  </a:lnTo>
                  <a:lnTo>
                    <a:pt x="573" y="1886"/>
                  </a:lnTo>
                  <a:lnTo>
                    <a:pt x="809" y="1852"/>
                  </a:lnTo>
                  <a:lnTo>
                    <a:pt x="1280" y="1852"/>
                  </a:lnTo>
                  <a:lnTo>
                    <a:pt x="1819" y="1819"/>
                  </a:lnTo>
                  <a:lnTo>
                    <a:pt x="2054" y="1819"/>
                  </a:lnTo>
                  <a:lnTo>
                    <a:pt x="2324" y="1785"/>
                  </a:lnTo>
                  <a:lnTo>
                    <a:pt x="2357" y="1819"/>
                  </a:lnTo>
                  <a:lnTo>
                    <a:pt x="2391" y="1819"/>
                  </a:lnTo>
                  <a:lnTo>
                    <a:pt x="2458" y="1785"/>
                  </a:lnTo>
                  <a:lnTo>
                    <a:pt x="2458" y="1751"/>
                  </a:lnTo>
                  <a:lnTo>
                    <a:pt x="2492" y="1516"/>
                  </a:lnTo>
                  <a:lnTo>
                    <a:pt x="2492" y="1246"/>
                  </a:lnTo>
                  <a:lnTo>
                    <a:pt x="2458" y="741"/>
                  </a:lnTo>
                  <a:lnTo>
                    <a:pt x="2425" y="1"/>
                  </a:lnTo>
                  <a:lnTo>
                    <a:pt x="2223" y="1"/>
                  </a:lnTo>
                  <a:lnTo>
                    <a:pt x="2256" y="573"/>
                  </a:lnTo>
                  <a:lnTo>
                    <a:pt x="2256" y="1078"/>
                  </a:lnTo>
                  <a:lnTo>
                    <a:pt x="2290" y="1617"/>
                  </a:lnTo>
                  <a:lnTo>
                    <a:pt x="2088" y="1583"/>
                  </a:lnTo>
                  <a:lnTo>
                    <a:pt x="1852" y="1583"/>
                  </a:lnTo>
                  <a:lnTo>
                    <a:pt x="1415" y="1617"/>
                  </a:lnTo>
                  <a:lnTo>
                    <a:pt x="876" y="1617"/>
                  </a:lnTo>
                  <a:lnTo>
                    <a:pt x="607" y="1650"/>
                  </a:lnTo>
                  <a:lnTo>
                    <a:pt x="337" y="1718"/>
                  </a:lnTo>
                  <a:lnTo>
                    <a:pt x="304" y="1179"/>
                  </a:lnTo>
                  <a:lnTo>
                    <a:pt x="236" y="640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0" name="Google Shape;750;p5"/>
            <p:cNvSpPr/>
            <p:nvPr/>
          </p:nvSpPr>
          <p:spPr>
            <a:xfrm>
              <a:off x="800199" y="3380"/>
              <a:ext cx="125852" cy="117432"/>
            </a:xfrm>
            <a:custGeom>
              <a:avLst/>
              <a:gdLst/>
              <a:ahLst/>
              <a:cxnLst/>
              <a:rect l="l" t="t" r="r" b="b"/>
              <a:pathLst>
                <a:path w="2526" h="2357" extrusionOk="0">
                  <a:moveTo>
                    <a:pt x="2256" y="202"/>
                  </a:moveTo>
                  <a:lnTo>
                    <a:pt x="2256" y="640"/>
                  </a:lnTo>
                  <a:lnTo>
                    <a:pt x="2290" y="1077"/>
                  </a:lnTo>
                  <a:lnTo>
                    <a:pt x="2290" y="1582"/>
                  </a:lnTo>
                  <a:lnTo>
                    <a:pt x="2323" y="2121"/>
                  </a:lnTo>
                  <a:lnTo>
                    <a:pt x="2088" y="2087"/>
                  </a:lnTo>
                  <a:lnTo>
                    <a:pt x="1886" y="2087"/>
                  </a:lnTo>
                  <a:lnTo>
                    <a:pt x="1448" y="2121"/>
                  </a:lnTo>
                  <a:lnTo>
                    <a:pt x="909" y="2121"/>
                  </a:lnTo>
                  <a:lnTo>
                    <a:pt x="640" y="2155"/>
                  </a:lnTo>
                  <a:lnTo>
                    <a:pt x="371" y="2222"/>
                  </a:lnTo>
                  <a:lnTo>
                    <a:pt x="337" y="1683"/>
                  </a:lnTo>
                  <a:lnTo>
                    <a:pt x="236" y="1145"/>
                  </a:lnTo>
                  <a:lnTo>
                    <a:pt x="202" y="707"/>
                  </a:lnTo>
                  <a:lnTo>
                    <a:pt x="169" y="269"/>
                  </a:lnTo>
                  <a:lnTo>
                    <a:pt x="1212" y="269"/>
                  </a:lnTo>
                  <a:lnTo>
                    <a:pt x="2256" y="202"/>
                  </a:lnTo>
                  <a:close/>
                  <a:moveTo>
                    <a:pt x="1179" y="0"/>
                  </a:moveTo>
                  <a:lnTo>
                    <a:pt x="674" y="34"/>
                  </a:lnTo>
                  <a:lnTo>
                    <a:pt x="135" y="67"/>
                  </a:lnTo>
                  <a:lnTo>
                    <a:pt x="68" y="101"/>
                  </a:lnTo>
                  <a:lnTo>
                    <a:pt x="68" y="168"/>
                  </a:lnTo>
                  <a:lnTo>
                    <a:pt x="34" y="438"/>
                  </a:lnTo>
                  <a:lnTo>
                    <a:pt x="0" y="673"/>
                  </a:lnTo>
                  <a:lnTo>
                    <a:pt x="34" y="1145"/>
                  </a:lnTo>
                  <a:lnTo>
                    <a:pt x="101" y="1717"/>
                  </a:lnTo>
                  <a:lnTo>
                    <a:pt x="135" y="2020"/>
                  </a:lnTo>
                  <a:lnTo>
                    <a:pt x="202" y="2289"/>
                  </a:lnTo>
                  <a:lnTo>
                    <a:pt x="236" y="2323"/>
                  </a:lnTo>
                  <a:lnTo>
                    <a:pt x="270" y="2357"/>
                  </a:lnTo>
                  <a:lnTo>
                    <a:pt x="337" y="2323"/>
                  </a:lnTo>
                  <a:lnTo>
                    <a:pt x="371" y="2357"/>
                  </a:lnTo>
                  <a:lnTo>
                    <a:pt x="1313" y="2357"/>
                  </a:lnTo>
                  <a:lnTo>
                    <a:pt x="1818" y="2323"/>
                  </a:lnTo>
                  <a:lnTo>
                    <a:pt x="2088" y="2323"/>
                  </a:lnTo>
                  <a:lnTo>
                    <a:pt x="2357" y="2289"/>
                  </a:lnTo>
                  <a:lnTo>
                    <a:pt x="2391" y="2323"/>
                  </a:lnTo>
                  <a:lnTo>
                    <a:pt x="2424" y="2323"/>
                  </a:lnTo>
                  <a:lnTo>
                    <a:pt x="2458" y="2289"/>
                  </a:lnTo>
                  <a:lnTo>
                    <a:pt x="2492" y="2256"/>
                  </a:lnTo>
                  <a:lnTo>
                    <a:pt x="2525" y="2020"/>
                  </a:lnTo>
                  <a:lnTo>
                    <a:pt x="2525" y="1751"/>
                  </a:lnTo>
                  <a:lnTo>
                    <a:pt x="2492" y="1246"/>
                  </a:lnTo>
                  <a:lnTo>
                    <a:pt x="2458" y="640"/>
                  </a:lnTo>
                  <a:lnTo>
                    <a:pt x="2424" y="337"/>
                  </a:lnTo>
                  <a:lnTo>
                    <a:pt x="2357" y="67"/>
                  </a:lnTo>
                  <a:lnTo>
                    <a:pt x="2323" y="34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1" name="Google Shape;751;p5"/>
            <p:cNvSpPr/>
            <p:nvPr/>
          </p:nvSpPr>
          <p:spPr>
            <a:xfrm>
              <a:off x="993112" y="63765"/>
              <a:ext cx="21822" cy="35274"/>
            </a:xfrm>
            <a:custGeom>
              <a:avLst/>
              <a:gdLst/>
              <a:ahLst/>
              <a:cxnLst/>
              <a:rect l="l" t="t" r="r" b="b"/>
              <a:pathLst>
                <a:path w="438" h="708" extrusionOk="0">
                  <a:moveTo>
                    <a:pt x="303" y="0"/>
                  </a:moveTo>
                  <a:lnTo>
                    <a:pt x="169" y="34"/>
                  </a:lnTo>
                  <a:lnTo>
                    <a:pt x="34" y="101"/>
                  </a:lnTo>
                  <a:lnTo>
                    <a:pt x="0" y="135"/>
                  </a:lnTo>
                  <a:lnTo>
                    <a:pt x="0" y="168"/>
                  </a:lnTo>
                  <a:lnTo>
                    <a:pt x="0" y="202"/>
                  </a:lnTo>
                  <a:lnTo>
                    <a:pt x="270" y="202"/>
                  </a:lnTo>
                  <a:lnTo>
                    <a:pt x="236" y="404"/>
                  </a:lnTo>
                  <a:lnTo>
                    <a:pt x="169" y="572"/>
                  </a:lnTo>
                  <a:lnTo>
                    <a:pt x="135" y="640"/>
                  </a:lnTo>
                  <a:lnTo>
                    <a:pt x="202" y="707"/>
                  </a:lnTo>
                  <a:lnTo>
                    <a:pt x="270" y="707"/>
                  </a:lnTo>
                  <a:lnTo>
                    <a:pt x="337" y="673"/>
                  </a:lnTo>
                  <a:lnTo>
                    <a:pt x="404" y="539"/>
                  </a:lnTo>
                  <a:lnTo>
                    <a:pt x="438" y="370"/>
                  </a:lnTo>
                  <a:lnTo>
                    <a:pt x="438" y="236"/>
                  </a:lnTo>
                  <a:lnTo>
                    <a:pt x="438" y="67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2" name="Google Shape;752;p5"/>
            <p:cNvSpPr/>
            <p:nvPr/>
          </p:nvSpPr>
          <p:spPr>
            <a:xfrm>
              <a:off x="853858" y="70442"/>
              <a:ext cx="28598" cy="35274"/>
            </a:xfrm>
            <a:custGeom>
              <a:avLst/>
              <a:gdLst/>
              <a:ahLst/>
              <a:cxnLst/>
              <a:rect l="l" t="t" r="r" b="b"/>
              <a:pathLst>
                <a:path w="574" h="708" extrusionOk="0">
                  <a:moveTo>
                    <a:pt x="337" y="1"/>
                  </a:moveTo>
                  <a:lnTo>
                    <a:pt x="270" y="34"/>
                  </a:lnTo>
                  <a:lnTo>
                    <a:pt x="169" y="68"/>
                  </a:lnTo>
                  <a:lnTo>
                    <a:pt x="68" y="203"/>
                  </a:lnTo>
                  <a:lnTo>
                    <a:pt x="34" y="270"/>
                  </a:lnTo>
                  <a:lnTo>
                    <a:pt x="1" y="371"/>
                  </a:lnTo>
                  <a:lnTo>
                    <a:pt x="1" y="438"/>
                  </a:lnTo>
                  <a:lnTo>
                    <a:pt x="34" y="539"/>
                  </a:lnTo>
                  <a:lnTo>
                    <a:pt x="135" y="640"/>
                  </a:lnTo>
                  <a:lnTo>
                    <a:pt x="270" y="708"/>
                  </a:lnTo>
                  <a:lnTo>
                    <a:pt x="371" y="708"/>
                  </a:lnTo>
                  <a:lnTo>
                    <a:pt x="438" y="640"/>
                  </a:lnTo>
                  <a:lnTo>
                    <a:pt x="573" y="506"/>
                  </a:lnTo>
                  <a:lnTo>
                    <a:pt x="573" y="472"/>
                  </a:lnTo>
                  <a:lnTo>
                    <a:pt x="573" y="405"/>
                  </a:lnTo>
                  <a:lnTo>
                    <a:pt x="539" y="371"/>
                  </a:lnTo>
                  <a:lnTo>
                    <a:pt x="135" y="371"/>
                  </a:lnTo>
                  <a:lnTo>
                    <a:pt x="169" y="270"/>
                  </a:lnTo>
                  <a:lnTo>
                    <a:pt x="236" y="203"/>
                  </a:lnTo>
                  <a:lnTo>
                    <a:pt x="304" y="135"/>
                  </a:lnTo>
                  <a:lnTo>
                    <a:pt x="37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3" name="Google Shape;753;p5"/>
            <p:cNvSpPr/>
            <p:nvPr/>
          </p:nvSpPr>
          <p:spPr>
            <a:xfrm>
              <a:off x="560304" y="-7"/>
              <a:ext cx="20178" cy="50"/>
            </a:xfrm>
            <a:custGeom>
              <a:avLst/>
              <a:gdLst/>
              <a:ahLst/>
              <a:cxnLst/>
              <a:rect l="l" t="t" r="r" b="b"/>
              <a:pathLst>
                <a:path w="405" h="1" extrusionOk="0">
                  <a:moveTo>
                    <a:pt x="405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405" y="1"/>
                  </a:lnTo>
                  <a:lnTo>
                    <a:pt x="40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4" name="Google Shape;754;p5"/>
            <p:cNvSpPr/>
            <p:nvPr/>
          </p:nvSpPr>
          <p:spPr>
            <a:xfrm>
              <a:off x="382537" y="25153"/>
              <a:ext cx="15146" cy="117481"/>
            </a:xfrm>
            <a:custGeom>
              <a:avLst/>
              <a:gdLst/>
              <a:ahLst/>
              <a:cxnLst/>
              <a:rect l="l" t="t" r="r" b="b"/>
              <a:pathLst>
                <a:path w="304" h="2358" extrusionOk="0">
                  <a:moveTo>
                    <a:pt x="67" y="1"/>
                  </a:moveTo>
                  <a:lnTo>
                    <a:pt x="34" y="34"/>
                  </a:lnTo>
                  <a:lnTo>
                    <a:pt x="34" y="68"/>
                  </a:lnTo>
                  <a:lnTo>
                    <a:pt x="0" y="304"/>
                  </a:lnTo>
                  <a:lnTo>
                    <a:pt x="0" y="573"/>
                  </a:lnTo>
                  <a:lnTo>
                    <a:pt x="0" y="1078"/>
                  </a:lnTo>
                  <a:lnTo>
                    <a:pt x="34" y="1718"/>
                  </a:lnTo>
                  <a:lnTo>
                    <a:pt x="101" y="2021"/>
                  </a:lnTo>
                  <a:lnTo>
                    <a:pt x="168" y="2290"/>
                  </a:lnTo>
                  <a:lnTo>
                    <a:pt x="202" y="2358"/>
                  </a:lnTo>
                  <a:lnTo>
                    <a:pt x="236" y="2358"/>
                  </a:lnTo>
                  <a:lnTo>
                    <a:pt x="303" y="2324"/>
                  </a:lnTo>
                  <a:lnTo>
                    <a:pt x="303" y="2290"/>
                  </a:lnTo>
                  <a:lnTo>
                    <a:pt x="303" y="1987"/>
                  </a:lnTo>
                  <a:lnTo>
                    <a:pt x="303" y="1684"/>
                  </a:lnTo>
                  <a:lnTo>
                    <a:pt x="236" y="1078"/>
                  </a:lnTo>
                  <a:lnTo>
                    <a:pt x="202" y="573"/>
                  </a:lnTo>
                  <a:lnTo>
                    <a:pt x="168" y="304"/>
                  </a:lnTo>
                  <a:lnTo>
                    <a:pt x="135" y="34"/>
                  </a:lnTo>
                  <a:lnTo>
                    <a:pt x="101" y="34"/>
                  </a:lnTo>
                  <a:lnTo>
                    <a:pt x="6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5" name="Google Shape;755;p5"/>
            <p:cNvSpPr/>
            <p:nvPr/>
          </p:nvSpPr>
          <p:spPr>
            <a:xfrm>
              <a:off x="1137348" y="58733"/>
              <a:ext cx="25210" cy="38612"/>
            </a:xfrm>
            <a:custGeom>
              <a:avLst/>
              <a:gdLst/>
              <a:ahLst/>
              <a:cxnLst/>
              <a:rect l="l" t="t" r="r" b="b"/>
              <a:pathLst>
                <a:path w="506" h="775" extrusionOk="0">
                  <a:moveTo>
                    <a:pt x="270" y="168"/>
                  </a:moveTo>
                  <a:lnTo>
                    <a:pt x="304" y="202"/>
                  </a:lnTo>
                  <a:lnTo>
                    <a:pt x="337" y="269"/>
                  </a:lnTo>
                  <a:lnTo>
                    <a:pt x="304" y="370"/>
                  </a:lnTo>
                  <a:lnTo>
                    <a:pt x="236" y="303"/>
                  </a:lnTo>
                  <a:lnTo>
                    <a:pt x="203" y="236"/>
                  </a:lnTo>
                  <a:lnTo>
                    <a:pt x="203" y="202"/>
                  </a:lnTo>
                  <a:lnTo>
                    <a:pt x="236" y="168"/>
                  </a:lnTo>
                  <a:close/>
                  <a:moveTo>
                    <a:pt x="203" y="0"/>
                  </a:moveTo>
                  <a:lnTo>
                    <a:pt x="102" y="67"/>
                  </a:lnTo>
                  <a:lnTo>
                    <a:pt x="34" y="135"/>
                  </a:lnTo>
                  <a:lnTo>
                    <a:pt x="1" y="236"/>
                  </a:lnTo>
                  <a:lnTo>
                    <a:pt x="34" y="337"/>
                  </a:lnTo>
                  <a:lnTo>
                    <a:pt x="102" y="404"/>
                  </a:lnTo>
                  <a:lnTo>
                    <a:pt x="169" y="471"/>
                  </a:lnTo>
                  <a:lnTo>
                    <a:pt x="68" y="539"/>
                  </a:lnTo>
                  <a:lnTo>
                    <a:pt x="34" y="606"/>
                  </a:lnTo>
                  <a:lnTo>
                    <a:pt x="68" y="673"/>
                  </a:lnTo>
                  <a:lnTo>
                    <a:pt x="135" y="741"/>
                  </a:lnTo>
                  <a:lnTo>
                    <a:pt x="203" y="774"/>
                  </a:lnTo>
                  <a:lnTo>
                    <a:pt x="304" y="774"/>
                  </a:lnTo>
                  <a:lnTo>
                    <a:pt x="371" y="741"/>
                  </a:lnTo>
                  <a:lnTo>
                    <a:pt x="438" y="707"/>
                  </a:lnTo>
                  <a:lnTo>
                    <a:pt x="506" y="640"/>
                  </a:lnTo>
                  <a:lnTo>
                    <a:pt x="506" y="572"/>
                  </a:lnTo>
                  <a:lnTo>
                    <a:pt x="438" y="471"/>
                  </a:lnTo>
                  <a:lnTo>
                    <a:pt x="472" y="471"/>
                  </a:lnTo>
                  <a:lnTo>
                    <a:pt x="472" y="438"/>
                  </a:lnTo>
                  <a:lnTo>
                    <a:pt x="472" y="404"/>
                  </a:lnTo>
                  <a:lnTo>
                    <a:pt x="438" y="337"/>
                  </a:lnTo>
                  <a:lnTo>
                    <a:pt x="472" y="269"/>
                  </a:lnTo>
                  <a:lnTo>
                    <a:pt x="472" y="168"/>
                  </a:lnTo>
                  <a:lnTo>
                    <a:pt x="472" y="101"/>
                  </a:lnTo>
                  <a:lnTo>
                    <a:pt x="371" y="34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6" name="Google Shape;756;p5"/>
            <p:cNvSpPr/>
            <p:nvPr/>
          </p:nvSpPr>
          <p:spPr>
            <a:xfrm>
              <a:off x="409342" y="-7"/>
              <a:ext cx="112449" cy="8470"/>
            </a:xfrm>
            <a:custGeom>
              <a:avLst/>
              <a:gdLst/>
              <a:ahLst/>
              <a:cxnLst/>
              <a:rect l="l" t="t" r="r" b="b"/>
              <a:pathLst>
                <a:path w="2257" h="170" extrusionOk="0">
                  <a:moveTo>
                    <a:pt x="304" y="1"/>
                  </a:moveTo>
                  <a:lnTo>
                    <a:pt x="1" y="68"/>
                  </a:lnTo>
                  <a:lnTo>
                    <a:pt x="1" y="102"/>
                  </a:lnTo>
                  <a:lnTo>
                    <a:pt x="236" y="135"/>
                  </a:lnTo>
                  <a:lnTo>
                    <a:pt x="472" y="169"/>
                  </a:lnTo>
                  <a:lnTo>
                    <a:pt x="977" y="135"/>
                  </a:lnTo>
                  <a:lnTo>
                    <a:pt x="1549" y="135"/>
                  </a:lnTo>
                  <a:lnTo>
                    <a:pt x="2021" y="102"/>
                  </a:lnTo>
                  <a:lnTo>
                    <a:pt x="2054" y="135"/>
                  </a:lnTo>
                  <a:lnTo>
                    <a:pt x="2122" y="169"/>
                  </a:lnTo>
                  <a:lnTo>
                    <a:pt x="2189" y="135"/>
                  </a:lnTo>
                  <a:lnTo>
                    <a:pt x="2223" y="68"/>
                  </a:lnTo>
                  <a:lnTo>
                    <a:pt x="2256" y="34"/>
                  </a:lnTo>
                  <a:lnTo>
                    <a:pt x="22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7" name="Google Shape;757;p5"/>
            <p:cNvSpPr/>
            <p:nvPr/>
          </p:nvSpPr>
          <p:spPr>
            <a:xfrm>
              <a:off x="660945" y="5025"/>
              <a:ext cx="124207" cy="134272"/>
            </a:xfrm>
            <a:custGeom>
              <a:avLst/>
              <a:gdLst/>
              <a:ahLst/>
              <a:cxnLst/>
              <a:rect l="l" t="t" r="r" b="b"/>
              <a:pathLst>
                <a:path w="2493" h="2695" extrusionOk="0">
                  <a:moveTo>
                    <a:pt x="2290" y="203"/>
                  </a:moveTo>
                  <a:lnTo>
                    <a:pt x="2223" y="741"/>
                  </a:lnTo>
                  <a:lnTo>
                    <a:pt x="2223" y="1280"/>
                  </a:lnTo>
                  <a:lnTo>
                    <a:pt x="2223" y="1819"/>
                  </a:lnTo>
                  <a:lnTo>
                    <a:pt x="2290" y="2324"/>
                  </a:lnTo>
                  <a:lnTo>
                    <a:pt x="2290" y="2357"/>
                  </a:lnTo>
                  <a:lnTo>
                    <a:pt x="2055" y="2324"/>
                  </a:lnTo>
                  <a:lnTo>
                    <a:pt x="1819" y="2357"/>
                  </a:lnTo>
                  <a:lnTo>
                    <a:pt x="371" y="2357"/>
                  </a:lnTo>
                  <a:lnTo>
                    <a:pt x="270" y="1314"/>
                  </a:lnTo>
                  <a:lnTo>
                    <a:pt x="203" y="236"/>
                  </a:lnTo>
                  <a:lnTo>
                    <a:pt x="203" y="236"/>
                  </a:lnTo>
                  <a:lnTo>
                    <a:pt x="708" y="270"/>
                  </a:lnTo>
                  <a:lnTo>
                    <a:pt x="1247" y="270"/>
                  </a:lnTo>
                  <a:lnTo>
                    <a:pt x="2290" y="203"/>
                  </a:lnTo>
                  <a:close/>
                  <a:moveTo>
                    <a:pt x="2324" y="1"/>
                  </a:moveTo>
                  <a:lnTo>
                    <a:pt x="1785" y="34"/>
                  </a:lnTo>
                  <a:lnTo>
                    <a:pt x="1213" y="34"/>
                  </a:lnTo>
                  <a:lnTo>
                    <a:pt x="674" y="68"/>
                  </a:lnTo>
                  <a:lnTo>
                    <a:pt x="169" y="102"/>
                  </a:lnTo>
                  <a:lnTo>
                    <a:pt x="102" y="102"/>
                  </a:lnTo>
                  <a:lnTo>
                    <a:pt x="68" y="169"/>
                  </a:lnTo>
                  <a:lnTo>
                    <a:pt x="35" y="169"/>
                  </a:lnTo>
                  <a:lnTo>
                    <a:pt x="35" y="236"/>
                  </a:lnTo>
                  <a:lnTo>
                    <a:pt x="1" y="809"/>
                  </a:lnTo>
                  <a:lnTo>
                    <a:pt x="1" y="1415"/>
                  </a:lnTo>
                  <a:lnTo>
                    <a:pt x="68" y="2021"/>
                  </a:lnTo>
                  <a:lnTo>
                    <a:pt x="169" y="2627"/>
                  </a:lnTo>
                  <a:lnTo>
                    <a:pt x="237" y="2694"/>
                  </a:lnTo>
                  <a:lnTo>
                    <a:pt x="304" y="2694"/>
                  </a:lnTo>
                  <a:lnTo>
                    <a:pt x="371" y="2661"/>
                  </a:lnTo>
                  <a:lnTo>
                    <a:pt x="405" y="2593"/>
                  </a:lnTo>
                  <a:lnTo>
                    <a:pt x="405" y="2492"/>
                  </a:lnTo>
                  <a:lnTo>
                    <a:pt x="843" y="2593"/>
                  </a:lnTo>
                  <a:lnTo>
                    <a:pt x="1348" y="2627"/>
                  </a:lnTo>
                  <a:lnTo>
                    <a:pt x="1853" y="2593"/>
                  </a:lnTo>
                  <a:lnTo>
                    <a:pt x="2055" y="2560"/>
                  </a:lnTo>
                  <a:lnTo>
                    <a:pt x="2290" y="2492"/>
                  </a:lnTo>
                  <a:lnTo>
                    <a:pt x="2324" y="2458"/>
                  </a:lnTo>
                  <a:lnTo>
                    <a:pt x="2324" y="2391"/>
                  </a:lnTo>
                  <a:lnTo>
                    <a:pt x="2425" y="2391"/>
                  </a:lnTo>
                  <a:lnTo>
                    <a:pt x="2459" y="2357"/>
                  </a:lnTo>
                  <a:lnTo>
                    <a:pt x="2459" y="2324"/>
                  </a:lnTo>
                  <a:lnTo>
                    <a:pt x="2492" y="1785"/>
                  </a:lnTo>
                  <a:lnTo>
                    <a:pt x="2459" y="1246"/>
                  </a:lnTo>
                  <a:lnTo>
                    <a:pt x="2425" y="708"/>
                  </a:lnTo>
                  <a:lnTo>
                    <a:pt x="2391" y="169"/>
                  </a:lnTo>
                  <a:lnTo>
                    <a:pt x="2425" y="135"/>
                  </a:lnTo>
                  <a:lnTo>
                    <a:pt x="2391" y="68"/>
                  </a:lnTo>
                  <a:lnTo>
                    <a:pt x="235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8" name="Google Shape;758;p5"/>
            <p:cNvSpPr/>
            <p:nvPr/>
          </p:nvSpPr>
          <p:spPr>
            <a:xfrm>
              <a:off x="432858" y="75474"/>
              <a:ext cx="35274" cy="52065"/>
            </a:xfrm>
            <a:custGeom>
              <a:avLst/>
              <a:gdLst/>
              <a:ahLst/>
              <a:cxnLst/>
              <a:rect l="l" t="t" r="r" b="b"/>
              <a:pathLst>
                <a:path w="708" h="1045" extrusionOk="0">
                  <a:moveTo>
                    <a:pt x="269" y="1"/>
                  </a:moveTo>
                  <a:lnTo>
                    <a:pt x="202" y="68"/>
                  </a:lnTo>
                  <a:lnTo>
                    <a:pt x="101" y="102"/>
                  </a:lnTo>
                  <a:lnTo>
                    <a:pt x="0" y="203"/>
                  </a:lnTo>
                  <a:lnTo>
                    <a:pt x="0" y="236"/>
                  </a:lnTo>
                  <a:lnTo>
                    <a:pt x="0" y="304"/>
                  </a:lnTo>
                  <a:lnTo>
                    <a:pt x="34" y="337"/>
                  </a:lnTo>
                  <a:lnTo>
                    <a:pt x="101" y="304"/>
                  </a:lnTo>
                  <a:lnTo>
                    <a:pt x="202" y="236"/>
                  </a:lnTo>
                  <a:lnTo>
                    <a:pt x="303" y="169"/>
                  </a:lnTo>
                  <a:lnTo>
                    <a:pt x="337" y="169"/>
                  </a:lnTo>
                  <a:lnTo>
                    <a:pt x="404" y="203"/>
                  </a:lnTo>
                  <a:lnTo>
                    <a:pt x="404" y="236"/>
                  </a:lnTo>
                  <a:lnTo>
                    <a:pt x="438" y="270"/>
                  </a:lnTo>
                  <a:lnTo>
                    <a:pt x="370" y="371"/>
                  </a:lnTo>
                  <a:lnTo>
                    <a:pt x="236" y="506"/>
                  </a:lnTo>
                  <a:lnTo>
                    <a:pt x="168" y="640"/>
                  </a:lnTo>
                  <a:lnTo>
                    <a:pt x="168" y="708"/>
                  </a:lnTo>
                  <a:lnTo>
                    <a:pt x="168" y="741"/>
                  </a:lnTo>
                  <a:lnTo>
                    <a:pt x="236" y="775"/>
                  </a:lnTo>
                  <a:lnTo>
                    <a:pt x="269" y="775"/>
                  </a:lnTo>
                  <a:lnTo>
                    <a:pt x="337" y="741"/>
                  </a:lnTo>
                  <a:lnTo>
                    <a:pt x="471" y="741"/>
                  </a:lnTo>
                  <a:lnTo>
                    <a:pt x="438" y="842"/>
                  </a:lnTo>
                  <a:lnTo>
                    <a:pt x="404" y="876"/>
                  </a:lnTo>
                  <a:lnTo>
                    <a:pt x="202" y="876"/>
                  </a:lnTo>
                  <a:lnTo>
                    <a:pt x="168" y="910"/>
                  </a:lnTo>
                  <a:lnTo>
                    <a:pt x="168" y="977"/>
                  </a:lnTo>
                  <a:lnTo>
                    <a:pt x="236" y="1011"/>
                  </a:lnTo>
                  <a:lnTo>
                    <a:pt x="337" y="1044"/>
                  </a:lnTo>
                  <a:lnTo>
                    <a:pt x="505" y="1011"/>
                  </a:lnTo>
                  <a:lnTo>
                    <a:pt x="606" y="977"/>
                  </a:lnTo>
                  <a:lnTo>
                    <a:pt x="673" y="943"/>
                  </a:lnTo>
                  <a:lnTo>
                    <a:pt x="707" y="876"/>
                  </a:lnTo>
                  <a:lnTo>
                    <a:pt x="707" y="775"/>
                  </a:lnTo>
                  <a:lnTo>
                    <a:pt x="673" y="674"/>
                  </a:lnTo>
                  <a:lnTo>
                    <a:pt x="606" y="607"/>
                  </a:lnTo>
                  <a:lnTo>
                    <a:pt x="539" y="573"/>
                  </a:lnTo>
                  <a:lnTo>
                    <a:pt x="438" y="539"/>
                  </a:lnTo>
                  <a:lnTo>
                    <a:pt x="505" y="472"/>
                  </a:lnTo>
                  <a:lnTo>
                    <a:pt x="572" y="371"/>
                  </a:lnTo>
                  <a:lnTo>
                    <a:pt x="606" y="236"/>
                  </a:lnTo>
                  <a:lnTo>
                    <a:pt x="572" y="102"/>
                  </a:lnTo>
                  <a:lnTo>
                    <a:pt x="505" y="68"/>
                  </a:lnTo>
                  <a:lnTo>
                    <a:pt x="438" y="34"/>
                  </a:lnTo>
                  <a:lnTo>
                    <a:pt x="37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59" name="Google Shape;759;p5"/>
            <p:cNvSpPr/>
            <p:nvPr/>
          </p:nvSpPr>
          <p:spPr>
            <a:xfrm>
              <a:off x="390907" y="20121"/>
              <a:ext cx="115787" cy="120820"/>
            </a:xfrm>
            <a:custGeom>
              <a:avLst/>
              <a:gdLst/>
              <a:ahLst/>
              <a:cxnLst/>
              <a:rect l="l" t="t" r="r" b="b"/>
              <a:pathLst>
                <a:path w="2324" h="2425" extrusionOk="0">
                  <a:moveTo>
                    <a:pt x="2121" y="1"/>
                  </a:moveTo>
                  <a:lnTo>
                    <a:pt x="1515" y="34"/>
                  </a:lnTo>
                  <a:lnTo>
                    <a:pt x="909" y="68"/>
                  </a:lnTo>
                  <a:lnTo>
                    <a:pt x="438" y="34"/>
                  </a:lnTo>
                  <a:lnTo>
                    <a:pt x="202" y="68"/>
                  </a:lnTo>
                  <a:lnTo>
                    <a:pt x="0" y="135"/>
                  </a:lnTo>
                  <a:lnTo>
                    <a:pt x="68" y="203"/>
                  </a:lnTo>
                  <a:lnTo>
                    <a:pt x="169" y="236"/>
                  </a:lnTo>
                  <a:lnTo>
                    <a:pt x="337" y="304"/>
                  </a:lnTo>
                  <a:lnTo>
                    <a:pt x="775" y="304"/>
                  </a:lnTo>
                  <a:lnTo>
                    <a:pt x="1381" y="270"/>
                  </a:lnTo>
                  <a:lnTo>
                    <a:pt x="2020" y="236"/>
                  </a:lnTo>
                  <a:lnTo>
                    <a:pt x="1987" y="438"/>
                  </a:lnTo>
                  <a:lnTo>
                    <a:pt x="1987" y="674"/>
                  </a:lnTo>
                  <a:lnTo>
                    <a:pt x="2020" y="1078"/>
                  </a:lnTo>
                  <a:lnTo>
                    <a:pt x="2054" y="1617"/>
                  </a:lnTo>
                  <a:lnTo>
                    <a:pt x="2054" y="1886"/>
                  </a:lnTo>
                  <a:lnTo>
                    <a:pt x="2088" y="2155"/>
                  </a:lnTo>
                  <a:lnTo>
                    <a:pt x="539" y="2155"/>
                  </a:lnTo>
                  <a:lnTo>
                    <a:pt x="371" y="2189"/>
                  </a:lnTo>
                  <a:lnTo>
                    <a:pt x="270" y="2223"/>
                  </a:lnTo>
                  <a:lnTo>
                    <a:pt x="169" y="2290"/>
                  </a:lnTo>
                  <a:lnTo>
                    <a:pt x="202" y="2290"/>
                  </a:lnTo>
                  <a:lnTo>
                    <a:pt x="270" y="2358"/>
                  </a:lnTo>
                  <a:lnTo>
                    <a:pt x="371" y="2391"/>
                  </a:lnTo>
                  <a:lnTo>
                    <a:pt x="573" y="2425"/>
                  </a:lnTo>
                  <a:lnTo>
                    <a:pt x="977" y="2391"/>
                  </a:lnTo>
                  <a:lnTo>
                    <a:pt x="2222" y="2391"/>
                  </a:lnTo>
                  <a:lnTo>
                    <a:pt x="2290" y="2358"/>
                  </a:lnTo>
                  <a:lnTo>
                    <a:pt x="2323" y="2290"/>
                  </a:lnTo>
                  <a:lnTo>
                    <a:pt x="2323" y="2223"/>
                  </a:lnTo>
                  <a:lnTo>
                    <a:pt x="2290" y="2189"/>
                  </a:lnTo>
                  <a:lnTo>
                    <a:pt x="2290" y="1920"/>
                  </a:lnTo>
                  <a:lnTo>
                    <a:pt x="2290" y="1617"/>
                  </a:lnTo>
                  <a:lnTo>
                    <a:pt x="2256" y="1078"/>
                  </a:lnTo>
                  <a:lnTo>
                    <a:pt x="2256" y="640"/>
                  </a:lnTo>
                  <a:lnTo>
                    <a:pt x="2222" y="405"/>
                  </a:lnTo>
                  <a:lnTo>
                    <a:pt x="2189" y="203"/>
                  </a:lnTo>
                  <a:lnTo>
                    <a:pt x="2222" y="169"/>
                  </a:lnTo>
                  <a:lnTo>
                    <a:pt x="2222" y="102"/>
                  </a:lnTo>
                  <a:lnTo>
                    <a:pt x="2189" y="34"/>
                  </a:lnTo>
                  <a:lnTo>
                    <a:pt x="212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0" name="Google Shape;760;p5"/>
            <p:cNvSpPr/>
            <p:nvPr/>
          </p:nvSpPr>
          <p:spPr>
            <a:xfrm>
              <a:off x="540176" y="-7"/>
              <a:ext cx="8470" cy="1744"/>
            </a:xfrm>
            <a:custGeom>
              <a:avLst/>
              <a:gdLst/>
              <a:ahLst/>
              <a:cxnLst/>
              <a:rect l="l" t="t" r="r" b="b"/>
              <a:pathLst>
                <a:path w="170" h="35" extrusionOk="0">
                  <a:moveTo>
                    <a:pt x="1" y="1"/>
                  </a:moveTo>
                  <a:lnTo>
                    <a:pt x="35" y="34"/>
                  </a:lnTo>
                  <a:lnTo>
                    <a:pt x="136" y="34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1" name="Google Shape;761;p5"/>
            <p:cNvSpPr/>
            <p:nvPr/>
          </p:nvSpPr>
          <p:spPr>
            <a:xfrm>
              <a:off x="882406" y="130826"/>
              <a:ext cx="124158" cy="134272"/>
            </a:xfrm>
            <a:custGeom>
              <a:avLst/>
              <a:gdLst/>
              <a:ahLst/>
              <a:cxnLst/>
              <a:rect l="l" t="t" r="r" b="b"/>
              <a:pathLst>
                <a:path w="2492" h="2695" extrusionOk="0">
                  <a:moveTo>
                    <a:pt x="2290" y="237"/>
                  </a:moveTo>
                  <a:lnTo>
                    <a:pt x="2222" y="742"/>
                  </a:lnTo>
                  <a:lnTo>
                    <a:pt x="2189" y="1280"/>
                  </a:lnTo>
                  <a:lnTo>
                    <a:pt x="2222" y="1819"/>
                  </a:lnTo>
                  <a:lnTo>
                    <a:pt x="2290" y="2324"/>
                  </a:lnTo>
                  <a:lnTo>
                    <a:pt x="2290" y="2358"/>
                  </a:lnTo>
                  <a:lnTo>
                    <a:pt x="1818" y="2358"/>
                  </a:lnTo>
                  <a:lnTo>
                    <a:pt x="1347" y="2391"/>
                  </a:lnTo>
                  <a:lnTo>
                    <a:pt x="370" y="2391"/>
                  </a:lnTo>
                  <a:lnTo>
                    <a:pt x="269" y="1314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707" y="304"/>
                  </a:lnTo>
                  <a:lnTo>
                    <a:pt x="1246" y="304"/>
                  </a:lnTo>
                  <a:lnTo>
                    <a:pt x="2290" y="237"/>
                  </a:lnTo>
                  <a:close/>
                  <a:moveTo>
                    <a:pt x="2323" y="1"/>
                  </a:moveTo>
                  <a:lnTo>
                    <a:pt x="1785" y="35"/>
                  </a:lnTo>
                  <a:lnTo>
                    <a:pt x="1212" y="68"/>
                  </a:lnTo>
                  <a:lnTo>
                    <a:pt x="673" y="68"/>
                  </a:lnTo>
                  <a:lnTo>
                    <a:pt x="135" y="102"/>
                  </a:lnTo>
                  <a:lnTo>
                    <a:pt x="101" y="136"/>
                  </a:lnTo>
                  <a:lnTo>
                    <a:pt x="67" y="169"/>
                  </a:lnTo>
                  <a:lnTo>
                    <a:pt x="34" y="203"/>
                  </a:lnTo>
                  <a:lnTo>
                    <a:pt x="34" y="237"/>
                  </a:lnTo>
                  <a:lnTo>
                    <a:pt x="0" y="843"/>
                  </a:lnTo>
                  <a:lnTo>
                    <a:pt x="0" y="1449"/>
                  </a:lnTo>
                  <a:lnTo>
                    <a:pt x="67" y="2055"/>
                  </a:lnTo>
                  <a:lnTo>
                    <a:pt x="168" y="2627"/>
                  </a:lnTo>
                  <a:lnTo>
                    <a:pt x="236" y="2694"/>
                  </a:lnTo>
                  <a:lnTo>
                    <a:pt x="303" y="2694"/>
                  </a:lnTo>
                  <a:lnTo>
                    <a:pt x="370" y="2661"/>
                  </a:lnTo>
                  <a:lnTo>
                    <a:pt x="404" y="2593"/>
                  </a:lnTo>
                  <a:lnTo>
                    <a:pt x="404" y="2526"/>
                  </a:lnTo>
                  <a:lnTo>
                    <a:pt x="842" y="2593"/>
                  </a:lnTo>
                  <a:lnTo>
                    <a:pt x="1347" y="2627"/>
                  </a:lnTo>
                  <a:lnTo>
                    <a:pt x="1852" y="2627"/>
                  </a:lnTo>
                  <a:lnTo>
                    <a:pt x="2054" y="2560"/>
                  </a:lnTo>
                  <a:lnTo>
                    <a:pt x="2290" y="2526"/>
                  </a:lnTo>
                  <a:lnTo>
                    <a:pt x="2323" y="2459"/>
                  </a:lnTo>
                  <a:lnTo>
                    <a:pt x="2323" y="2391"/>
                  </a:lnTo>
                  <a:lnTo>
                    <a:pt x="2357" y="2425"/>
                  </a:lnTo>
                  <a:lnTo>
                    <a:pt x="2424" y="2425"/>
                  </a:lnTo>
                  <a:lnTo>
                    <a:pt x="2458" y="2391"/>
                  </a:lnTo>
                  <a:lnTo>
                    <a:pt x="2458" y="2324"/>
                  </a:lnTo>
                  <a:lnTo>
                    <a:pt x="2492" y="1819"/>
                  </a:lnTo>
                  <a:lnTo>
                    <a:pt x="2458" y="1280"/>
                  </a:lnTo>
                  <a:lnTo>
                    <a:pt x="2424" y="708"/>
                  </a:lnTo>
                  <a:lnTo>
                    <a:pt x="2391" y="203"/>
                  </a:lnTo>
                  <a:lnTo>
                    <a:pt x="2391" y="136"/>
                  </a:lnTo>
                  <a:lnTo>
                    <a:pt x="2391" y="68"/>
                  </a:lnTo>
                  <a:lnTo>
                    <a:pt x="2357" y="35"/>
                  </a:lnTo>
                  <a:lnTo>
                    <a:pt x="232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2" name="Google Shape;762;p5"/>
            <p:cNvSpPr/>
            <p:nvPr/>
          </p:nvSpPr>
          <p:spPr>
            <a:xfrm>
              <a:off x="885744" y="276757"/>
              <a:ext cx="13452" cy="115837"/>
            </a:xfrm>
            <a:custGeom>
              <a:avLst/>
              <a:gdLst/>
              <a:ahLst/>
              <a:cxnLst/>
              <a:rect l="l" t="t" r="r" b="b"/>
              <a:pathLst>
                <a:path w="270" h="2325" extrusionOk="0">
                  <a:moveTo>
                    <a:pt x="68" y="1"/>
                  </a:moveTo>
                  <a:lnTo>
                    <a:pt x="34" y="35"/>
                  </a:lnTo>
                  <a:lnTo>
                    <a:pt x="0" y="304"/>
                  </a:lnTo>
                  <a:lnTo>
                    <a:pt x="0" y="540"/>
                  </a:lnTo>
                  <a:lnTo>
                    <a:pt x="34" y="1078"/>
                  </a:lnTo>
                  <a:lnTo>
                    <a:pt x="0" y="1684"/>
                  </a:lnTo>
                  <a:lnTo>
                    <a:pt x="0" y="1987"/>
                  </a:lnTo>
                  <a:lnTo>
                    <a:pt x="34" y="2257"/>
                  </a:lnTo>
                  <a:lnTo>
                    <a:pt x="68" y="2324"/>
                  </a:lnTo>
                  <a:lnTo>
                    <a:pt x="169" y="2324"/>
                  </a:lnTo>
                  <a:lnTo>
                    <a:pt x="169" y="2290"/>
                  </a:lnTo>
                  <a:lnTo>
                    <a:pt x="236" y="1987"/>
                  </a:lnTo>
                  <a:lnTo>
                    <a:pt x="270" y="1684"/>
                  </a:lnTo>
                  <a:lnTo>
                    <a:pt x="236" y="1078"/>
                  </a:lnTo>
                  <a:lnTo>
                    <a:pt x="236" y="540"/>
                  </a:lnTo>
                  <a:lnTo>
                    <a:pt x="202" y="270"/>
                  </a:lnTo>
                  <a:lnTo>
                    <a:pt x="135" y="35"/>
                  </a:lnTo>
                  <a:lnTo>
                    <a:pt x="10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3" name="Google Shape;763;p5"/>
            <p:cNvSpPr/>
            <p:nvPr/>
          </p:nvSpPr>
          <p:spPr>
            <a:xfrm>
              <a:off x="934371" y="181147"/>
              <a:ext cx="30242" cy="35274"/>
            </a:xfrm>
            <a:custGeom>
              <a:avLst/>
              <a:gdLst/>
              <a:ahLst/>
              <a:cxnLst/>
              <a:rect l="l" t="t" r="r" b="b"/>
              <a:pathLst>
                <a:path w="607" h="708" extrusionOk="0">
                  <a:moveTo>
                    <a:pt x="573" y="1"/>
                  </a:moveTo>
                  <a:lnTo>
                    <a:pt x="439" y="102"/>
                  </a:lnTo>
                  <a:lnTo>
                    <a:pt x="304" y="203"/>
                  </a:lnTo>
                  <a:lnTo>
                    <a:pt x="237" y="169"/>
                  </a:lnTo>
                  <a:lnTo>
                    <a:pt x="169" y="102"/>
                  </a:lnTo>
                  <a:lnTo>
                    <a:pt x="68" y="35"/>
                  </a:lnTo>
                  <a:lnTo>
                    <a:pt x="1" y="35"/>
                  </a:lnTo>
                  <a:lnTo>
                    <a:pt x="1" y="68"/>
                  </a:lnTo>
                  <a:lnTo>
                    <a:pt x="34" y="169"/>
                  </a:lnTo>
                  <a:lnTo>
                    <a:pt x="135" y="304"/>
                  </a:lnTo>
                  <a:lnTo>
                    <a:pt x="169" y="338"/>
                  </a:lnTo>
                  <a:lnTo>
                    <a:pt x="34" y="573"/>
                  </a:lnTo>
                  <a:lnTo>
                    <a:pt x="34" y="641"/>
                  </a:lnTo>
                  <a:lnTo>
                    <a:pt x="68" y="708"/>
                  </a:lnTo>
                  <a:lnTo>
                    <a:pt x="169" y="708"/>
                  </a:lnTo>
                  <a:lnTo>
                    <a:pt x="203" y="674"/>
                  </a:lnTo>
                  <a:lnTo>
                    <a:pt x="371" y="371"/>
                  </a:lnTo>
                  <a:lnTo>
                    <a:pt x="439" y="371"/>
                  </a:lnTo>
                  <a:lnTo>
                    <a:pt x="472" y="338"/>
                  </a:lnTo>
                  <a:lnTo>
                    <a:pt x="439" y="270"/>
                  </a:lnTo>
                  <a:lnTo>
                    <a:pt x="60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4" name="Google Shape;764;p5"/>
            <p:cNvSpPr/>
            <p:nvPr/>
          </p:nvSpPr>
          <p:spPr>
            <a:xfrm>
              <a:off x="941097" y="-7"/>
              <a:ext cx="127546" cy="117481"/>
            </a:xfrm>
            <a:custGeom>
              <a:avLst/>
              <a:gdLst/>
              <a:ahLst/>
              <a:cxnLst/>
              <a:rect l="l" t="t" r="r" b="b"/>
              <a:pathLst>
                <a:path w="2560" h="2358" extrusionOk="0">
                  <a:moveTo>
                    <a:pt x="169" y="102"/>
                  </a:moveTo>
                  <a:lnTo>
                    <a:pt x="371" y="169"/>
                  </a:lnTo>
                  <a:lnTo>
                    <a:pt x="573" y="203"/>
                  </a:lnTo>
                  <a:lnTo>
                    <a:pt x="1011" y="203"/>
                  </a:lnTo>
                  <a:lnTo>
                    <a:pt x="1650" y="236"/>
                  </a:lnTo>
                  <a:lnTo>
                    <a:pt x="2324" y="236"/>
                  </a:lnTo>
                  <a:lnTo>
                    <a:pt x="2324" y="607"/>
                  </a:lnTo>
                  <a:lnTo>
                    <a:pt x="2324" y="1011"/>
                  </a:lnTo>
                  <a:lnTo>
                    <a:pt x="2324" y="1516"/>
                  </a:lnTo>
                  <a:lnTo>
                    <a:pt x="2357" y="1751"/>
                  </a:lnTo>
                  <a:lnTo>
                    <a:pt x="2391" y="2021"/>
                  </a:lnTo>
                  <a:lnTo>
                    <a:pt x="1347" y="2021"/>
                  </a:lnTo>
                  <a:lnTo>
                    <a:pt x="809" y="2054"/>
                  </a:lnTo>
                  <a:lnTo>
                    <a:pt x="539" y="2088"/>
                  </a:lnTo>
                  <a:lnTo>
                    <a:pt x="304" y="2155"/>
                  </a:lnTo>
                  <a:lnTo>
                    <a:pt x="270" y="1650"/>
                  </a:lnTo>
                  <a:lnTo>
                    <a:pt x="236" y="1145"/>
                  </a:lnTo>
                  <a:lnTo>
                    <a:pt x="270" y="607"/>
                  </a:lnTo>
                  <a:lnTo>
                    <a:pt x="236" y="337"/>
                  </a:lnTo>
                  <a:lnTo>
                    <a:pt x="203" y="236"/>
                  </a:lnTo>
                  <a:lnTo>
                    <a:pt x="169" y="102"/>
                  </a:lnTo>
                  <a:close/>
                  <a:moveTo>
                    <a:pt x="371" y="1"/>
                  </a:moveTo>
                  <a:lnTo>
                    <a:pt x="270" y="34"/>
                  </a:lnTo>
                  <a:lnTo>
                    <a:pt x="169" y="102"/>
                  </a:lnTo>
                  <a:lnTo>
                    <a:pt x="135" y="102"/>
                  </a:lnTo>
                  <a:lnTo>
                    <a:pt x="68" y="270"/>
                  </a:lnTo>
                  <a:lnTo>
                    <a:pt x="34" y="405"/>
                  </a:lnTo>
                  <a:lnTo>
                    <a:pt x="0" y="775"/>
                  </a:lnTo>
                  <a:lnTo>
                    <a:pt x="34" y="1516"/>
                  </a:lnTo>
                  <a:lnTo>
                    <a:pt x="34" y="1718"/>
                  </a:lnTo>
                  <a:lnTo>
                    <a:pt x="34" y="1987"/>
                  </a:lnTo>
                  <a:lnTo>
                    <a:pt x="68" y="2088"/>
                  </a:lnTo>
                  <a:lnTo>
                    <a:pt x="102" y="2223"/>
                  </a:lnTo>
                  <a:lnTo>
                    <a:pt x="169" y="2290"/>
                  </a:lnTo>
                  <a:lnTo>
                    <a:pt x="270" y="2357"/>
                  </a:lnTo>
                  <a:lnTo>
                    <a:pt x="304" y="2324"/>
                  </a:lnTo>
                  <a:lnTo>
                    <a:pt x="337" y="2290"/>
                  </a:lnTo>
                  <a:lnTo>
                    <a:pt x="573" y="2324"/>
                  </a:lnTo>
                  <a:lnTo>
                    <a:pt x="1347" y="2324"/>
                  </a:lnTo>
                  <a:lnTo>
                    <a:pt x="2391" y="2223"/>
                  </a:lnTo>
                  <a:lnTo>
                    <a:pt x="2526" y="2223"/>
                  </a:lnTo>
                  <a:lnTo>
                    <a:pt x="2526" y="2189"/>
                  </a:lnTo>
                  <a:lnTo>
                    <a:pt x="2559" y="1953"/>
                  </a:lnTo>
                  <a:lnTo>
                    <a:pt x="2559" y="1684"/>
                  </a:lnTo>
                  <a:lnTo>
                    <a:pt x="2526" y="1179"/>
                  </a:lnTo>
                  <a:lnTo>
                    <a:pt x="2526" y="573"/>
                  </a:lnTo>
                  <a:lnTo>
                    <a:pt x="2492" y="304"/>
                  </a:lnTo>
                  <a:lnTo>
                    <a:pt x="2458" y="1"/>
                  </a:lnTo>
                  <a:lnTo>
                    <a:pt x="2357" y="1"/>
                  </a:lnTo>
                  <a:lnTo>
                    <a:pt x="2324" y="34"/>
                  </a:lnTo>
                  <a:lnTo>
                    <a:pt x="181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5" name="Google Shape;765;p5"/>
            <p:cNvSpPr/>
            <p:nvPr/>
          </p:nvSpPr>
          <p:spPr>
            <a:xfrm>
              <a:off x="1412468" y="48669"/>
              <a:ext cx="30242" cy="35274"/>
            </a:xfrm>
            <a:custGeom>
              <a:avLst/>
              <a:gdLst/>
              <a:ahLst/>
              <a:cxnLst/>
              <a:rect l="l" t="t" r="r" b="b"/>
              <a:pathLst>
                <a:path w="607" h="708" extrusionOk="0">
                  <a:moveTo>
                    <a:pt x="371" y="370"/>
                  </a:moveTo>
                  <a:lnTo>
                    <a:pt x="371" y="438"/>
                  </a:lnTo>
                  <a:lnTo>
                    <a:pt x="337" y="471"/>
                  </a:lnTo>
                  <a:lnTo>
                    <a:pt x="270" y="505"/>
                  </a:lnTo>
                  <a:lnTo>
                    <a:pt x="169" y="505"/>
                  </a:lnTo>
                  <a:lnTo>
                    <a:pt x="202" y="438"/>
                  </a:lnTo>
                  <a:lnTo>
                    <a:pt x="236" y="404"/>
                  </a:lnTo>
                  <a:lnTo>
                    <a:pt x="337" y="370"/>
                  </a:lnTo>
                  <a:close/>
                  <a:moveTo>
                    <a:pt x="371" y="0"/>
                  </a:moveTo>
                  <a:lnTo>
                    <a:pt x="236" y="34"/>
                  </a:lnTo>
                  <a:lnTo>
                    <a:pt x="202" y="67"/>
                  </a:lnTo>
                  <a:lnTo>
                    <a:pt x="169" y="135"/>
                  </a:lnTo>
                  <a:lnTo>
                    <a:pt x="169" y="168"/>
                  </a:lnTo>
                  <a:lnTo>
                    <a:pt x="169" y="236"/>
                  </a:lnTo>
                  <a:lnTo>
                    <a:pt x="202" y="236"/>
                  </a:lnTo>
                  <a:lnTo>
                    <a:pt x="135" y="269"/>
                  </a:lnTo>
                  <a:lnTo>
                    <a:pt x="34" y="337"/>
                  </a:lnTo>
                  <a:lnTo>
                    <a:pt x="0" y="471"/>
                  </a:lnTo>
                  <a:lnTo>
                    <a:pt x="0" y="572"/>
                  </a:lnTo>
                  <a:lnTo>
                    <a:pt x="34" y="673"/>
                  </a:lnTo>
                  <a:lnTo>
                    <a:pt x="135" y="707"/>
                  </a:lnTo>
                  <a:lnTo>
                    <a:pt x="371" y="707"/>
                  </a:lnTo>
                  <a:lnTo>
                    <a:pt x="472" y="640"/>
                  </a:lnTo>
                  <a:lnTo>
                    <a:pt x="573" y="505"/>
                  </a:lnTo>
                  <a:lnTo>
                    <a:pt x="606" y="370"/>
                  </a:lnTo>
                  <a:lnTo>
                    <a:pt x="606" y="236"/>
                  </a:lnTo>
                  <a:lnTo>
                    <a:pt x="573" y="101"/>
                  </a:lnTo>
                  <a:lnTo>
                    <a:pt x="539" y="34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6" name="Google Shape;766;p5"/>
            <p:cNvSpPr/>
            <p:nvPr/>
          </p:nvSpPr>
          <p:spPr>
            <a:xfrm>
              <a:off x="654269" y="189567"/>
              <a:ext cx="28548" cy="41951"/>
            </a:xfrm>
            <a:custGeom>
              <a:avLst/>
              <a:gdLst/>
              <a:ahLst/>
              <a:cxnLst/>
              <a:rect l="l" t="t" r="r" b="b"/>
              <a:pathLst>
                <a:path w="573" h="842" extrusionOk="0">
                  <a:moveTo>
                    <a:pt x="371" y="202"/>
                  </a:moveTo>
                  <a:lnTo>
                    <a:pt x="337" y="337"/>
                  </a:lnTo>
                  <a:lnTo>
                    <a:pt x="270" y="371"/>
                  </a:lnTo>
                  <a:lnTo>
                    <a:pt x="202" y="404"/>
                  </a:lnTo>
                  <a:lnTo>
                    <a:pt x="169" y="472"/>
                  </a:lnTo>
                  <a:lnTo>
                    <a:pt x="169" y="438"/>
                  </a:lnTo>
                  <a:lnTo>
                    <a:pt x="169" y="371"/>
                  </a:lnTo>
                  <a:lnTo>
                    <a:pt x="202" y="303"/>
                  </a:lnTo>
                  <a:lnTo>
                    <a:pt x="236" y="236"/>
                  </a:lnTo>
                  <a:lnTo>
                    <a:pt x="303" y="202"/>
                  </a:lnTo>
                  <a:close/>
                  <a:moveTo>
                    <a:pt x="371" y="0"/>
                  </a:moveTo>
                  <a:lnTo>
                    <a:pt x="236" y="68"/>
                  </a:lnTo>
                  <a:lnTo>
                    <a:pt x="101" y="135"/>
                  </a:lnTo>
                  <a:lnTo>
                    <a:pt x="68" y="169"/>
                  </a:lnTo>
                  <a:lnTo>
                    <a:pt x="34" y="169"/>
                  </a:lnTo>
                  <a:lnTo>
                    <a:pt x="34" y="236"/>
                  </a:lnTo>
                  <a:lnTo>
                    <a:pt x="0" y="371"/>
                  </a:lnTo>
                  <a:lnTo>
                    <a:pt x="0" y="505"/>
                  </a:lnTo>
                  <a:lnTo>
                    <a:pt x="68" y="775"/>
                  </a:lnTo>
                  <a:lnTo>
                    <a:pt x="68" y="808"/>
                  </a:lnTo>
                  <a:lnTo>
                    <a:pt x="135" y="808"/>
                  </a:lnTo>
                  <a:lnTo>
                    <a:pt x="169" y="775"/>
                  </a:lnTo>
                  <a:lnTo>
                    <a:pt x="169" y="741"/>
                  </a:lnTo>
                  <a:lnTo>
                    <a:pt x="169" y="606"/>
                  </a:lnTo>
                  <a:lnTo>
                    <a:pt x="236" y="674"/>
                  </a:lnTo>
                  <a:lnTo>
                    <a:pt x="303" y="775"/>
                  </a:lnTo>
                  <a:lnTo>
                    <a:pt x="371" y="808"/>
                  </a:lnTo>
                  <a:lnTo>
                    <a:pt x="472" y="842"/>
                  </a:lnTo>
                  <a:lnTo>
                    <a:pt x="539" y="842"/>
                  </a:lnTo>
                  <a:lnTo>
                    <a:pt x="573" y="775"/>
                  </a:lnTo>
                  <a:lnTo>
                    <a:pt x="573" y="741"/>
                  </a:lnTo>
                  <a:lnTo>
                    <a:pt x="505" y="674"/>
                  </a:lnTo>
                  <a:lnTo>
                    <a:pt x="404" y="640"/>
                  </a:lnTo>
                  <a:lnTo>
                    <a:pt x="337" y="539"/>
                  </a:lnTo>
                  <a:lnTo>
                    <a:pt x="472" y="438"/>
                  </a:lnTo>
                  <a:lnTo>
                    <a:pt x="539" y="270"/>
                  </a:lnTo>
                  <a:lnTo>
                    <a:pt x="573" y="169"/>
                  </a:lnTo>
                  <a:lnTo>
                    <a:pt x="539" y="101"/>
                  </a:lnTo>
                  <a:lnTo>
                    <a:pt x="472" y="34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7" name="Google Shape;767;p5"/>
            <p:cNvSpPr/>
            <p:nvPr/>
          </p:nvSpPr>
          <p:spPr>
            <a:xfrm>
              <a:off x="610625" y="147617"/>
              <a:ext cx="117481" cy="119126"/>
            </a:xfrm>
            <a:custGeom>
              <a:avLst/>
              <a:gdLst/>
              <a:ahLst/>
              <a:cxnLst/>
              <a:rect l="l" t="t" r="r" b="b"/>
              <a:pathLst>
                <a:path w="2358" h="2391" extrusionOk="0">
                  <a:moveTo>
                    <a:pt x="1550" y="1"/>
                  </a:moveTo>
                  <a:lnTo>
                    <a:pt x="944" y="34"/>
                  </a:lnTo>
                  <a:lnTo>
                    <a:pt x="237" y="34"/>
                  </a:lnTo>
                  <a:lnTo>
                    <a:pt x="35" y="102"/>
                  </a:lnTo>
                  <a:lnTo>
                    <a:pt x="1" y="135"/>
                  </a:lnTo>
                  <a:lnTo>
                    <a:pt x="102" y="203"/>
                  </a:lnTo>
                  <a:lnTo>
                    <a:pt x="203" y="236"/>
                  </a:lnTo>
                  <a:lnTo>
                    <a:pt x="371" y="270"/>
                  </a:lnTo>
                  <a:lnTo>
                    <a:pt x="1415" y="270"/>
                  </a:lnTo>
                  <a:lnTo>
                    <a:pt x="2055" y="203"/>
                  </a:lnTo>
                  <a:lnTo>
                    <a:pt x="2021" y="438"/>
                  </a:lnTo>
                  <a:lnTo>
                    <a:pt x="2021" y="640"/>
                  </a:lnTo>
                  <a:lnTo>
                    <a:pt x="2055" y="1078"/>
                  </a:lnTo>
                  <a:lnTo>
                    <a:pt x="2088" y="1583"/>
                  </a:lnTo>
                  <a:lnTo>
                    <a:pt x="2088" y="1852"/>
                  </a:lnTo>
                  <a:lnTo>
                    <a:pt x="2122" y="2122"/>
                  </a:lnTo>
                  <a:lnTo>
                    <a:pt x="977" y="2155"/>
                  </a:lnTo>
                  <a:lnTo>
                    <a:pt x="573" y="2122"/>
                  </a:lnTo>
                  <a:lnTo>
                    <a:pt x="371" y="2155"/>
                  </a:lnTo>
                  <a:lnTo>
                    <a:pt x="304" y="2223"/>
                  </a:lnTo>
                  <a:lnTo>
                    <a:pt x="203" y="2256"/>
                  </a:lnTo>
                  <a:lnTo>
                    <a:pt x="203" y="2290"/>
                  </a:lnTo>
                  <a:lnTo>
                    <a:pt x="304" y="2324"/>
                  </a:lnTo>
                  <a:lnTo>
                    <a:pt x="405" y="2357"/>
                  </a:lnTo>
                  <a:lnTo>
                    <a:pt x="573" y="2391"/>
                  </a:lnTo>
                  <a:lnTo>
                    <a:pt x="1617" y="2391"/>
                  </a:lnTo>
                  <a:lnTo>
                    <a:pt x="2257" y="2357"/>
                  </a:lnTo>
                  <a:lnTo>
                    <a:pt x="2324" y="2324"/>
                  </a:lnTo>
                  <a:lnTo>
                    <a:pt x="2358" y="2290"/>
                  </a:lnTo>
                  <a:lnTo>
                    <a:pt x="2358" y="2223"/>
                  </a:lnTo>
                  <a:lnTo>
                    <a:pt x="2324" y="2155"/>
                  </a:lnTo>
                  <a:lnTo>
                    <a:pt x="2324" y="1886"/>
                  </a:lnTo>
                  <a:lnTo>
                    <a:pt x="2324" y="1617"/>
                  </a:lnTo>
                  <a:lnTo>
                    <a:pt x="2290" y="1044"/>
                  </a:lnTo>
                  <a:lnTo>
                    <a:pt x="2290" y="607"/>
                  </a:lnTo>
                  <a:lnTo>
                    <a:pt x="2257" y="405"/>
                  </a:lnTo>
                  <a:lnTo>
                    <a:pt x="2223" y="169"/>
                  </a:lnTo>
                  <a:lnTo>
                    <a:pt x="2257" y="135"/>
                  </a:lnTo>
                  <a:lnTo>
                    <a:pt x="2257" y="68"/>
                  </a:lnTo>
                  <a:lnTo>
                    <a:pt x="2223" y="34"/>
                  </a:lnTo>
                  <a:lnTo>
                    <a:pt x="21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8" name="Google Shape;768;p5"/>
            <p:cNvSpPr/>
            <p:nvPr/>
          </p:nvSpPr>
          <p:spPr>
            <a:xfrm>
              <a:off x="786797" y="186179"/>
              <a:ext cx="41951" cy="36968"/>
            </a:xfrm>
            <a:custGeom>
              <a:avLst/>
              <a:gdLst/>
              <a:ahLst/>
              <a:cxnLst/>
              <a:rect l="l" t="t" r="r" b="b"/>
              <a:pathLst>
                <a:path w="842" h="742" extrusionOk="0">
                  <a:moveTo>
                    <a:pt x="34" y="1"/>
                  </a:moveTo>
                  <a:lnTo>
                    <a:pt x="0" y="35"/>
                  </a:lnTo>
                  <a:lnTo>
                    <a:pt x="0" y="68"/>
                  </a:lnTo>
                  <a:lnTo>
                    <a:pt x="0" y="102"/>
                  </a:lnTo>
                  <a:lnTo>
                    <a:pt x="34" y="102"/>
                  </a:lnTo>
                  <a:lnTo>
                    <a:pt x="135" y="169"/>
                  </a:lnTo>
                  <a:lnTo>
                    <a:pt x="236" y="203"/>
                  </a:lnTo>
                  <a:lnTo>
                    <a:pt x="168" y="405"/>
                  </a:lnTo>
                  <a:lnTo>
                    <a:pt x="135" y="607"/>
                  </a:lnTo>
                  <a:lnTo>
                    <a:pt x="168" y="674"/>
                  </a:lnTo>
                  <a:lnTo>
                    <a:pt x="236" y="708"/>
                  </a:lnTo>
                  <a:lnTo>
                    <a:pt x="269" y="742"/>
                  </a:lnTo>
                  <a:lnTo>
                    <a:pt x="303" y="674"/>
                  </a:lnTo>
                  <a:lnTo>
                    <a:pt x="337" y="506"/>
                  </a:lnTo>
                  <a:lnTo>
                    <a:pt x="370" y="304"/>
                  </a:lnTo>
                  <a:lnTo>
                    <a:pt x="606" y="304"/>
                  </a:lnTo>
                  <a:lnTo>
                    <a:pt x="741" y="270"/>
                  </a:lnTo>
                  <a:lnTo>
                    <a:pt x="808" y="203"/>
                  </a:lnTo>
                  <a:lnTo>
                    <a:pt x="842" y="169"/>
                  </a:lnTo>
                  <a:lnTo>
                    <a:pt x="842" y="136"/>
                  </a:lnTo>
                  <a:lnTo>
                    <a:pt x="842" y="68"/>
                  </a:lnTo>
                  <a:lnTo>
                    <a:pt x="808" y="35"/>
                  </a:lnTo>
                  <a:lnTo>
                    <a:pt x="74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69" name="Google Shape;769;p5"/>
            <p:cNvSpPr/>
            <p:nvPr/>
          </p:nvSpPr>
          <p:spPr>
            <a:xfrm>
              <a:off x="709622" y="72136"/>
              <a:ext cx="35274" cy="48677"/>
            </a:xfrm>
            <a:custGeom>
              <a:avLst/>
              <a:gdLst/>
              <a:ahLst/>
              <a:cxnLst/>
              <a:rect l="l" t="t" r="r" b="b"/>
              <a:pathLst>
                <a:path w="708" h="977" extrusionOk="0">
                  <a:moveTo>
                    <a:pt x="505" y="0"/>
                  </a:moveTo>
                  <a:lnTo>
                    <a:pt x="371" y="34"/>
                  </a:lnTo>
                  <a:lnTo>
                    <a:pt x="68" y="135"/>
                  </a:lnTo>
                  <a:lnTo>
                    <a:pt x="34" y="202"/>
                  </a:lnTo>
                  <a:lnTo>
                    <a:pt x="34" y="236"/>
                  </a:lnTo>
                  <a:lnTo>
                    <a:pt x="135" y="539"/>
                  </a:lnTo>
                  <a:lnTo>
                    <a:pt x="202" y="606"/>
                  </a:lnTo>
                  <a:lnTo>
                    <a:pt x="270" y="573"/>
                  </a:lnTo>
                  <a:lnTo>
                    <a:pt x="404" y="539"/>
                  </a:lnTo>
                  <a:lnTo>
                    <a:pt x="505" y="539"/>
                  </a:lnTo>
                  <a:lnTo>
                    <a:pt x="573" y="606"/>
                  </a:lnTo>
                  <a:lnTo>
                    <a:pt x="539" y="640"/>
                  </a:lnTo>
                  <a:lnTo>
                    <a:pt x="438" y="674"/>
                  </a:lnTo>
                  <a:lnTo>
                    <a:pt x="236" y="707"/>
                  </a:lnTo>
                  <a:lnTo>
                    <a:pt x="101" y="741"/>
                  </a:lnTo>
                  <a:lnTo>
                    <a:pt x="34" y="808"/>
                  </a:lnTo>
                  <a:lnTo>
                    <a:pt x="0" y="876"/>
                  </a:lnTo>
                  <a:lnTo>
                    <a:pt x="0" y="909"/>
                  </a:lnTo>
                  <a:lnTo>
                    <a:pt x="34" y="943"/>
                  </a:lnTo>
                  <a:lnTo>
                    <a:pt x="68" y="977"/>
                  </a:lnTo>
                  <a:lnTo>
                    <a:pt x="101" y="943"/>
                  </a:lnTo>
                  <a:lnTo>
                    <a:pt x="169" y="909"/>
                  </a:lnTo>
                  <a:lnTo>
                    <a:pt x="270" y="876"/>
                  </a:lnTo>
                  <a:lnTo>
                    <a:pt x="438" y="876"/>
                  </a:lnTo>
                  <a:lnTo>
                    <a:pt x="573" y="808"/>
                  </a:lnTo>
                  <a:lnTo>
                    <a:pt x="640" y="775"/>
                  </a:lnTo>
                  <a:lnTo>
                    <a:pt x="707" y="707"/>
                  </a:lnTo>
                  <a:lnTo>
                    <a:pt x="707" y="640"/>
                  </a:lnTo>
                  <a:lnTo>
                    <a:pt x="707" y="539"/>
                  </a:lnTo>
                  <a:lnTo>
                    <a:pt x="674" y="472"/>
                  </a:lnTo>
                  <a:lnTo>
                    <a:pt x="606" y="404"/>
                  </a:lnTo>
                  <a:lnTo>
                    <a:pt x="539" y="371"/>
                  </a:lnTo>
                  <a:lnTo>
                    <a:pt x="438" y="371"/>
                  </a:lnTo>
                  <a:lnTo>
                    <a:pt x="270" y="404"/>
                  </a:lnTo>
                  <a:lnTo>
                    <a:pt x="236" y="270"/>
                  </a:lnTo>
                  <a:lnTo>
                    <a:pt x="472" y="169"/>
                  </a:lnTo>
                  <a:lnTo>
                    <a:pt x="674" y="101"/>
                  </a:lnTo>
                  <a:lnTo>
                    <a:pt x="674" y="34"/>
                  </a:lnTo>
                  <a:lnTo>
                    <a:pt x="67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0" name="Google Shape;770;p5"/>
            <p:cNvSpPr/>
            <p:nvPr/>
          </p:nvSpPr>
          <p:spPr>
            <a:xfrm>
              <a:off x="741508" y="140891"/>
              <a:ext cx="127496" cy="120820"/>
            </a:xfrm>
            <a:custGeom>
              <a:avLst/>
              <a:gdLst/>
              <a:ahLst/>
              <a:cxnLst/>
              <a:rect l="l" t="t" r="r" b="b"/>
              <a:pathLst>
                <a:path w="2559" h="2425" extrusionOk="0">
                  <a:moveTo>
                    <a:pt x="1986" y="1"/>
                  </a:moveTo>
                  <a:lnTo>
                    <a:pt x="1616" y="68"/>
                  </a:lnTo>
                  <a:lnTo>
                    <a:pt x="909" y="68"/>
                  </a:lnTo>
                  <a:lnTo>
                    <a:pt x="539" y="102"/>
                  </a:lnTo>
                  <a:lnTo>
                    <a:pt x="202" y="136"/>
                  </a:lnTo>
                  <a:lnTo>
                    <a:pt x="168" y="68"/>
                  </a:lnTo>
                  <a:lnTo>
                    <a:pt x="168" y="35"/>
                  </a:lnTo>
                  <a:lnTo>
                    <a:pt x="101" y="35"/>
                  </a:lnTo>
                  <a:lnTo>
                    <a:pt x="67" y="68"/>
                  </a:lnTo>
                  <a:lnTo>
                    <a:pt x="34" y="304"/>
                  </a:lnTo>
                  <a:lnTo>
                    <a:pt x="0" y="573"/>
                  </a:lnTo>
                  <a:lnTo>
                    <a:pt x="0" y="1112"/>
                  </a:lnTo>
                  <a:lnTo>
                    <a:pt x="34" y="1718"/>
                  </a:lnTo>
                  <a:lnTo>
                    <a:pt x="67" y="2021"/>
                  </a:lnTo>
                  <a:lnTo>
                    <a:pt x="168" y="2324"/>
                  </a:lnTo>
                  <a:lnTo>
                    <a:pt x="202" y="2358"/>
                  </a:lnTo>
                  <a:lnTo>
                    <a:pt x="303" y="2358"/>
                  </a:lnTo>
                  <a:lnTo>
                    <a:pt x="337" y="2290"/>
                  </a:lnTo>
                  <a:lnTo>
                    <a:pt x="303" y="1987"/>
                  </a:lnTo>
                  <a:lnTo>
                    <a:pt x="303" y="1684"/>
                  </a:lnTo>
                  <a:lnTo>
                    <a:pt x="236" y="1078"/>
                  </a:lnTo>
                  <a:lnTo>
                    <a:pt x="236" y="674"/>
                  </a:lnTo>
                  <a:lnTo>
                    <a:pt x="202" y="237"/>
                  </a:lnTo>
                  <a:lnTo>
                    <a:pt x="438" y="270"/>
                  </a:lnTo>
                  <a:lnTo>
                    <a:pt x="1145" y="270"/>
                  </a:lnTo>
                  <a:lnTo>
                    <a:pt x="2222" y="203"/>
                  </a:lnTo>
                  <a:lnTo>
                    <a:pt x="2256" y="237"/>
                  </a:lnTo>
                  <a:lnTo>
                    <a:pt x="2289" y="270"/>
                  </a:lnTo>
                  <a:lnTo>
                    <a:pt x="2323" y="270"/>
                  </a:lnTo>
                  <a:lnTo>
                    <a:pt x="2289" y="573"/>
                  </a:lnTo>
                  <a:lnTo>
                    <a:pt x="2323" y="910"/>
                  </a:lnTo>
                  <a:lnTo>
                    <a:pt x="2357" y="2088"/>
                  </a:lnTo>
                  <a:lnTo>
                    <a:pt x="2121" y="2055"/>
                  </a:lnTo>
                  <a:lnTo>
                    <a:pt x="1885" y="2088"/>
                  </a:lnTo>
                  <a:lnTo>
                    <a:pt x="1414" y="2122"/>
                  </a:lnTo>
                  <a:lnTo>
                    <a:pt x="673" y="2122"/>
                  </a:lnTo>
                  <a:lnTo>
                    <a:pt x="539" y="2156"/>
                  </a:lnTo>
                  <a:lnTo>
                    <a:pt x="404" y="2189"/>
                  </a:lnTo>
                  <a:lnTo>
                    <a:pt x="337" y="2290"/>
                  </a:lnTo>
                  <a:lnTo>
                    <a:pt x="404" y="2358"/>
                  </a:lnTo>
                  <a:lnTo>
                    <a:pt x="505" y="2391"/>
                  </a:lnTo>
                  <a:lnTo>
                    <a:pt x="774" y="2425"/>
                  </a:lnTo>
                  <a:lnTo>
                    <a:pt x="1279" y="2358"/>
                  </a:lnTo>
                  <a:lnTo>
                    <a:pt x="2087" y="2358"/>
                  </a:lnTo>
                  <a:lnTo>
                    <a:pt x="2357" y="2290"/>
                  </a:lnTo>
                  <a:lnTo>
                    <a:pt x="2424" y="2324"/>
                  </a:lnTo>
                  <a:lnTo>
                    <a:pt x="2525" y="2324"/>
                  </a:lnTo>
                  <a:lnTo>
                    <a:pt x="2559" y="2257"/>
                  </a:lnTo>
                  <a:lnTo>
                    <a:pt x="2491" y="1078"/>
                  </a:lnTo>
                  <a:lnTo>
                    <a:pt x="2525" y="573"/>
                  </a:lnTo>
                  <a:lnTo>
                    <a:pt x="2491" y="304"/>
                  </a:lnTo>
                  <a:lnTo>
                    <a:pt x="2424" y="68"/>
                  </a:lnTo>
                  <a:lnTo>
                    <a:pt x="2390" y="68"/>
                  </a:lnTo>
                  <a:lnTo>
                    <a:pt x="2390" y="102"/>
                  </a:lnTo>
                  <a:lnTo>
                    <a:pt x="2357" y="102"/>
                  </a:lnTo>
                  <a:lnTo>
                    <a:pt x="2289" y="35"/>
                  </a:lnTo>
                  <a:lnTo>
                    <a:pt x="2222" y="35"/>
                  </a:lnTo>
                  <a:lnTo>
                    <a:pt x="198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1" name="Google Shape;771;p5"/>
            <p:cNvSpPr/>
            <p:nvPr/>
          </p:nvSpPr>
          <p:spPr>
            <a:xfrm>
              <a:off x="211397" y="296885"/>
              <a:ext cx="130884" cy="120869"/>
            </a:xfrm>
            <a:custGeom>
              <a:avLst/>
              <a:gdLst/>
              <a:ahLst/>
              <a:cxnLst/>
              <a:rect l="l" t="t" r="r" b="b"/>
              <a:pathLst>
                <a:path w="2627" h="2426" extrusionOk="0">
                  <a:moveTo>
                    <a:pt x="1819" y="1"/>
                  </a:moveTo>
                  <a:lnTo>
                    <a:pt x="1314" y="68"/>
                  </a:lnTo>
                  <a:lnTo>
                    <a:pt x="742" y="102"/>
                  </a:lnTo>
                  <a:lnTo>
                    <a:pt x="169" y="203"/>
                  </a:lnTo>
                  <a:lnTo>
                    <a:pt x="136" y="136"/>
                  </a:lnTo>
                  <a:lnTo>
                    <a:pt x="102" y="102"/>
                  </a:lnTo>
                  <a:lnTo>
                    <a:pt x="68" y="102"/>
                  </a:lnTo>
                  <a:lnTo>
                    <a:pt x="35" y="136"/>
                  </a:lnTo>
                  <a:lnTo>
                    <a:pt x="1" y="439"/>
                  </a:lnTo>
                  <a:lnTo>
                    <a:pt x="35" y="742"/>
                  </a:lnTo>
                  <a:lnTo>
                    <a:pt x="68" y="1348"/>
                  </a:lnTo>
                  <a:lnTo>
                    <a:pt x="68" y="1853"/>
                  </a:lnTo>
                  <a:lnTo>
                    <a:pt x="68" y="2122"/>
                  </a:lnTo>
                  <a:lnTo>
                    <a:pt x="136" y="2391"/>
                  </a:lnTo>
                  <a:lnTo>
                    <a:pt x="169" y="2425"/>
                  </a:lnTo>
                  <a:lnTo>
                    <a:pt x="237" y="2391"/>
                  </a:lnTo>
                  <a:lnTo>
                    <a:pt x="1314" y="2391"/>
                  </a:lnTo>
                  <a:lnTo>
                    <a:pt x="1853" y="2358"/>
                  </a:lnTo>
                  <a:lnTo>
                    <a:pt x="2088" y="2324"/>
                  </a:lnTo>
                  <a:lnTo>
                    <a:pt x="2358" y="2290"/>
                  </a:lnTo>
                  <a:lnTo>
                    <a:pt x="2358" y="2324"/>
                  </a:lnTo>
                  <a:lnTo>
                    <a:pt x="2425" y="2324"/>
                  </a:lnTo>
                  <a:lnTo>
                    <a:pt x="2526" y="2257"/>
                  </a:lnTo>
                  <a:lnTo>
                    <a:pt x="2560" y="2189"/>
                  </a:lnTo>
                  <a:lnTo>
                    <a:pt x="2593" y="2088"/>
                  </a:lnTo>
                  <a:lnTo>
                    <a:pt x="2627" y="1954"/>
                  </a:lnTo>
                  <a:lnTo>
                    <a:pt x="2593" y="1684"/>
                  </a:lnTo>
                  <a:lnTo>
                    <a:pt x="2560" y="1482"/>
                  </a:lnTo>
                  <a:lnTo>
                    <a:pt x="2560" y="742"/>
                  </a:lnTo>
                  <a:lnTo>
                    <a:pt x="2492" y="405"/>
                  </a:lnTo>
                  <a:lnTo>
                    <a:pt x="2425" y="237"/>
                  </a:lnTo>
                  <a:lnTo>
                    <a:pt x="2358" y="102"/>
                  </a:lnTo>
                  <a:lnTo>
                    <a:pt x="2324" y="102"/>
                  </a:lnTo>
                  <a:lnTo>
                    <a:pt x="2290" y="203"/>
                  </a:lnTo>
                  <a:lnTo>
                    <a:pt x="2257" y="338"/>
                  </a:lnTo>
                  <a:lnTo>
                    <a:pt x="2257" y="607"/>
                  </a:lnTo>
                  <a:lnTo>
                    <a:pt x="2324" y="1146"/>
                  </a:lnTo>
                  <a:lnTo>
                    <a:pt x="2358" y="1651"/>
                  </a:lnTo>
                  <a:lnTo>
                    <a:pt x="2358" y="2156"/>
                  </a:lnTo>
                  <a:lnTo>
                    <a:pt x="2088" y="2122"/>
                  </a:lnTo>
                  <a:lnTo>
                    <a:pt x="1853" y="2088"/>
                  </a:lnTo>
                  <a:lnTo>
                    <a:pt x="1314" y="2088"/>
                  </a:lnTo>
                  <a:lnTo>
                    <a:pt x="270" y="2189"/>
                  </a:lnTo>
                  <a:lnTo>
                    <a:pt x="270" y="1920"/>
                  </a:lnTo>
                  <a:lnTo>
                    <a:pt x="270" y="1684"/>
                  </a:lnTo>
                  <a:lnTo>
                    <a:pt x="237" y="1146"/>
                  </a:lnTo>
                  <a:lnTo>
                    <a:pt x="237" y="775"/>
                  </a:lnTo>
                  <a:lnTo>
                    <a:pt x="203" y="405"/>
                  </a:lnTo>
                  <a:lnTo>
                    <a:pt x="843" y="338"/>
                  </a:lnTo>
                  <a:lnTo>
                    <a:pt x="1482" y="270"/>
                  </a:lnTo>
                  <a:lnTo>
                    <a:pt x="1920" y="237"/>
                  </a:lnTo>
                  <a:lnTo>
                    <a:pt x="2122" y="203"/>
                  </a:lnTo>
                  <a:lnTo>
                    <a:pt x="2324" y="102"/>
                  </a:lnTo>
                  <a:lnTo>
                    <a:pt x="2324" y="68"/>
                  </a:lnTo>
                  <a:lnTo>
                    <a:pt x="2189" y="35"/>
                  </a:lnTo>
                  <a:lnTo>
                    <a:pt x="208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2" name="Google Shape;772;p5"/>
            <p:cNvSpPr/>
            <p:nvPr/>
          </p:nvSpPr>
          <p:spPr>
            <a:xfrm>
              <a:off x="1734520" y="504894"/>
              <a:ext cx="122514" cy="147674"/>
            </a:xfrm>
            <a:custGeom>
              <a:avLst/>
              <a:gdLst/>
              <a:ahLst/>
              <a:cxnLst/>
              <a:rect l="l" t="t" r="r" b="b"/>
              <a:pathLst>
                <a:path w="2459" h="2964" extrusionOk="0">
                  <a:moveTo>
                    <a:pt x="270" y="1516"/>
                  </a:moveTo>
                  <a:lnTo>
                    <a:pt x="472" y="1583"/>
                  </a:lnTo>
                  <a:lnTo>
                    <a:pt x="708" y="1617"/>
                  </a:lnTo>
                  <a:lnTo>
                    <a:pt x="1953" y="1617"/>
                  </a:lnTo>
                  <a:lnTo>
                    <a:pt x="2223" y="1583"/>
                  </a:lnTo>
                  <a:lnTo>
                    <a:pt x="2223" y="2088"/>
                  </a:lnTo>
                  <a:lnTo>
                    <a:pt x="2223" y="2324"/>
                  </a:lnTo>
                  <a:lnTo>
                    <a:pt x="2256" y="2593"/>
                  </a:lnTo>
                  <a:lnTo>
                    <a:pt x="1785" y="2593"/>
                  </a:lnTo>
                  <a:lnTo>
                    <a:pt x="1347" y="2661"/>
                  </a:lnTo>
                  <a:lnTo>
                    <a:pt x="842" y="2694"/>
                  </a:lnTo>
                  <a:lnTo>
                    <a:pt x="573" y="2728"/>
                  </a:lnTo>
                  <a:lnTo>
                    <a:pt x="337" y="2795"/>
                  </a:lnTo>
                  <a:lnTo>
                    <a:pt x="311" y="2821"/>
                  </a:lnTo>
                  <a:lnTo>
                    <a:pt x="337" y="2560"/>
                  </a:lnTo>
                  <a:lnTo>
                    <a:pt x="303" y="2189"/>
                  </a:lnTo>
                  <a:lnTo>
                    <a:pt x="270" y="1516"/>
                  </a:lnTo>
                  <a:close/>
                  <a:moveTo>
                    <a:pt x="2155" y="1"/>
                  </a:moveTo>
                  <a:lnTo>
                    <a:pt x="1886" y="34"/>
                  </a:lnTo>
                  <a:lnTo>
                    <a:pt x="1583" y="34"/>
                  </a:lnTo>
                  <a:lnTo>
                    <a:pt x="1044" y="102"/>
                  </a:lnTo>
                  <a:lnTo>
                    <a:pt x="607" y="169"/>
                  </a:lnTo>
                  <a:lnTo>
                    <a:pt x="135" y="236"/>
                  </a:lnTo>
                  <a:lnTo>
                    <a:pt x="101" y="169"/>
                  </a:lnTo>
                  <a:lnTo>
                    <a:pt x="68" y="203"/>
                  </a:lnTo>
                  <a:lnTo>
                    <a:pt x="0" y="506"/>
                  </a:lnTo>
                  <a:lnTo>
                    <a:pt x="0" y="809"/>
                  </a:lnTo>
                  <a:lnTo>
                    <a:pt x="34" y="1449"/>
                  </a:lnTo>
                  <a:lnTo>
                    <a:pt x="34" y="2189"/>
                  </a:lnTo>
                  <a:lnTo>
                    <a:pt x="68" y="2560"/>
                  </a:lnTo>
                  <a:lnTo>
                    <a:pt x="135" y="2896"/>
                  </a:lnTo>
                  <a:lnTo>
                    <a:pt x="169" y="2964"/>
                  </a:lnTo>
                  <a:lnTo>
                    <a:pt x="236" y="2964"/>
                  </a:lnTo>
                  <a:lnTo>
                    <a:pt x="270" y="2930"/>
                  </a:lnTo>
                  <a:lnTo>
                    <a:pt x="303" y="2896"/>
                  </a:lnTo>
                  <a:lnTo>
                    <a:pt x="310" y="2835"/>
                  </a:lnTo>
                  <a:lnTo>
                    <a:pt x="337" y="2863"/>
                  </a:lnTo>
                  <a:lnTo>
                    <a:pt x="842" y="2863"/>
                  </a:lnTo>
                  <a:lnTo>
                    <a:pt x="1347" y="2829"/>
                  </a:lnTo>
                  <a:lnTo>
                    <a:pt x="1819" y="2795"/>
                  </a:lnTo>
                  <a:lnTo>
                    <a:pt x="2290" y="2728"/>
                  </a:lnTo>
                  <a:lnTo>
                    <a:pt x="2324" y="2795"/>
                  </a:lnTo>
                  <a:lnTo>
                    <a:pt x="2357" y="2829"/>
                  </a:lnTo>
                  <a:lnTo>
                    <a:pt x="2391" y="2795"/>
                  </a:lnTo>
                  <a:lnTo>
                    <a:pt x="2391" y="2728"/>
                  </a:lnTo>
                  <a:lnTo>
                    <a:pt x="2425" y="2661"/>
                  </a:lnTo>
                  <a:lnTo>
                    <a:pt x="2425" y="2627"/>
                  </a:lnTo>
                  <a:lnTo>
                    <a:pt x="2458" y="2358"/>
                  </a:lnTo>
                  <a:lnTo>
                    <a:pt x="2458" y="2088"/>
                  </a:lnTo>
                  <a:lnTo>
                    <a:pt x="2425" y="1583"/>
                  </a:lnTo>
                  <a:lnTo>
                    <a:pt x="2391" y="843"/>
                  </a:lnTo>
                  <a:lnTo>
                    <a:pt x="2357" y="506"/>
                  </a:lnTo>
                  <a:lnTo>
                    <a:pt x="2290" y="135"/>
                  </a:lnTo>
                  <a:lnTo>
                    <a:pt x="2256" y="135"/>
                  </a:lnTo>
                  <a:lnTo>
                    <a:pt x="2223" y="438"/>
                  </a:lnTo>
                  <a:lnTo>
                    <a:pt x="2189" y="775"/>
                  </a:lnTo>
                  <a:lnTo>
                    <a:pt x="2223" y="1381"/>
                  </a:lnTo>
                  <a:lnTo>
                    <a:pt x="2223" y="1415"/>
                  </a:lnTo>
                  <a:lnTo>
                    <a:pt x="1953" y="1381"/>
                  </a:lnTo>
                  <a:lnTo>
                    <a:pt x="472" y="1381"/>
                  </a:lnTo>
                  <a:lnTo>
                    <a:pt x="236" y="1449"/>
                  </a:lnTo>
                  <a:lnTo>
                    <a:pt x="236" y="910"/>
                  </a:lnTo>
                  <a:lnTo>
                    <a:pt x="202" y="641"/>
                  </a:lnTo>
                  <a:lnTo>
                    <a:pt x="169" y="371"/>
                  </a:lnTo>
                  <a:lnTo>
                    <a:pt x="674" y="371"/>
                  </a:lnTo>
                  <a:lnTo>
                    <a:pt x="1213" y="304"/>
                  </a:lnTo>
                  <a:lnTo>
                    <a:pt x="1684" y="236"/>
                  </a:lnTo>
                  <a:lnTo>
                    <a:pt x="2189" y="169"/>
                  </a:lnTo>
                  <a:lnTo>
                    <a:pt x="2223" y="135"/>
                  </a:lnTo>
                  <a:lnTo>
                    <a:pt x="2223" y="68"/>
                  </a:lnTo>
                  <a:lnTo>
                    <a:pt x="2189" y="34"/>
                  </a:lnTo>
                  <a:lnTo>
                    <a:pt x="21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3" name="Google Shape;773;p5"/>
            <p:cNvSpPr/>
            <p:nvPr/>
          </p:nvSpPr>
          <p:spPr>
            <a:xfrm>
              <a:off x="1873725" y="566973"/>
              <a:ext cx="127546" cy="80563"/>
            </a:xfrm>
            <a:custGeom>
              <a:avLst/>
              <a:gdLst/>
              <a:ahLst/>
              <a:cxnLst/>
              <a:rect l="l" t="t" r="r" b="b"/>
              <a:pathLst>
                <a:path w="2560" h="1617" extrusionOk="0">
                  <a:moveTo>
                    <a:pt x="1314" y="1"/>
                  </a:moveTo>
                  <a:lnTo>
                    <a:pt x="674" y="34"/>
                  </a:lnTo>
                  <a:lnTo>
                    <a:pt x="371" y="68"/>
                  </a:lnTo>
                  <a:lnTo>
                    <a:pt x="68" y="135"/>
                  </a:lnTo>
                  <a:lnTo>
                    <a:pt x="35" y="169"/>
                  </a:lnTo>
                  <a:lnTo>
                    <a:pt x="1" y="203"/>
                  </a:lnTo>
                  <a:lnTo>
                    <a:pt x="35" y="236"/>
                  </a:lnTo>
                  <a:lnTo>
                    <a:pt x="102" y="270"/>
                  </a:lnTo>
                  <a:lnTo>
                    <a:pt x="708" y="270"/>
                  </a:lnTo>
                  <a:lnTo>
                    <a:pt x="1314" y="236"/>
                  </a:lnTo>
                  <a:lnTo>
                    <a:pt x="2290" y="236"/>
                  </a:lnTo>
                  <a:lnTo>
                    <a:pt x="2358" y="506"/>
                  </a:lnTo>
                  <a:lnTo>
                    <a:pt x="2391" y="775"/>
                  </a:lnTo>
                  <a:lnTo>
                    <a:pt x="2358" y="1347"/>
                  </a:lnTo>
                  <a:lnTo>
                    <a:pt x="1247" y="1381"/>
                  </a:lnTo>
                  <a:lnTo>
                    <a:pt x="742" y="1415"/>
                  </a:lnTo>
                  <a:lnTo>
                    <a:pt x="472" y="1415"/>
                  </a:lnTo>
                  <a:lnTo>
                    <a:pt x="237" y="1482"/>
                  </a:lnTo>
                  <a:lnTo>
                    <a:pt x="203" y="1516"/>
                  </a:lnTo>
                  <a:lnTo>
                    <a:pt x="237" y="1549"/>
                  </a:lnTo>
                  <a:lnTo>
                    <a:pt x="472" y="1617"/>
                  </a:lnTo>
                  <a:lnTo>
                    <a:pt x="742" y="1617"/>
                  </a:lnTo>
                  <a:lnTo>
                    <a:pt x="1280" y="1583"/>
                  </a:lnTo>
                  <a:lnTo>
                    <a:pt x="2459" y="1549"/>
                  </a:lnTo>
                  <a:lnTo>
                    <a:pt x="2526" y="1516"/>
                  </a:lnTo>
                  <a:lnTo>
                    <a:pt x="2560" y="1448"/>
                  </a:lnTo>
                  <a:lnTo>
                    <a:pt x="2560" y="1145"/>
                  </a:lnTo>
                  <a:lnTo>
                    <a:pt x="2492" y="842"/>
                  </a:lnTo>
                  <a:lnTo>
                    <a:pt x="2358" y="236"/>
                  </a:lnTo>
                  <a:lnTo>
                    <a:pt x="2391" y="203"/>
                  </a:lnTo>
                  <a:lnTo>
                    <a:pt x="2425" y="203"/>
                  </a:lnTo>
                  <a:lnTo>
                    <a:pt x="2459" y="135"/>
                  </a:lnTo>
                  <a:lnTo>
                    <a:pt x="2425" y="102"/>
                  </a:lnTo>
                  <a:lnTo>
                    <a:pt x="2391" y="102"/>
                  </a:lnTo>
                  <a:lnTo>
                    <a:pt x="2324" y="68"/>
                  </a:lnTo>
                  <a:lnTo>
                    <a:pt x="2324" y="1"/>
                  </a:lnTo>
                  <a:lnTo>
                    <a:pt x="2257" y="1"/>
                  </a:lnTo>
                  <a:lnTo>
                    <a:pt x="2257" y="34"/>
                  </a:lnTo>
                  <a:lnTo>
                    <a:pt x="2021" y="34"/>
                  </a:lnTo>
                  <a:lnTo>
                    <a:pt x="178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4" name="Google Shape;774;p5"/>
            <p:cNvSpPr/>
            <p:nvPr/>
          </p:nvSpPr>
          <p:spPr>
            <a:xfrm>
              <a:off x="1924045" y="590439"/>
              <a:ext cx="26904" cy="36968"/>
            </a:xfrm>
            <a:custGeom>
              <a:avLst/>
              <a:gdLst/>
              <a:ahLst/>
              <a:cxnLst/>
              <a:rect l="l" t="t" r="r" b="b"/>
              <a:pathLst>
                <a:path w="540" h="742" extrusionOk="0">
                  <a:moveTo>
                    <a:pt x="136" y="1"/>
                  </a:moveTo>
                  <a:lnTo>
                    <a:pt x="68" y="35"/>
                  </a:lnTo>
                  <a:lnTo>
                    <a:pt x="68" y="102"/>
                  </a:lnTo>
                  <a:lnTo>
                    <a:pt x="102" y="203"/>
                  </a:lnTo>
                  <a:lnTo>
                    <a:pt x="169" y="237"/>
                  </a:lnTo>
                  <a:lnTo>
                    <a:pt x="270" y="304"/>
                  </a:lnTo>
                  <a:lnTo>
                    <a:pt x="203" y="338"/>
                  </a:lnTo>
                  <a:lnTo>
                    <a:pt x="35" y="540"/>
                  </a:lnTo>
                  <a:lnTo>
                    <a:pt x="1" y="573"/>
                  </a:lnTo>
                  <a:lnTo>
                    <a:pt x="1" y="641"/>
                  </a:lnTo>
                  <a:lnTo>
                    <a:pt x="35" y="708"/>
                  </a:lnTo>
                  <a:lnTo>
                    <a:pt x="102" y="742"/>
                  </a:lnTo>
                  <a:lnTo>
                    <a:pt x="136" y="708"/>
                  </a:lnTo>
                  <a:lnTo>
                    <a:pt x="203" y="708"/>
                  </a:lnTo>
                  <a:lnTo>
                    <a:pt x="371" y="472"/>
                  </a:lnTo>
                  <a:lnTo>
                    <a:pt x="439" y="371"/>
                  </a:lnTo>
                  <a:lnTo>
                    <a:pt x="506" y="338"/>
                  </a:lnTo>
                  <a:lnTo>
                    <a:pt x="540" y="304"/>
                  </a:lnTo>
                  <a:lnTo>
                    <a:pt x="540" y="237"/>
                  </a:lnTo>
                  <a:lnTo>
                    <a:pt x="506" y="203"/>
                  </a:lnTo>
                  <a:lnTo>
                    <a:pt x="371" y="102"/>
                  </a:lnTo>
                  <a:lnTo>
                    <a:pt x="304" y="68"/>
                  </a:lnTo>
                  <a:lnTo>
                    <a:pt x="237" y="35"/>
                  </a:lnTo>
                  <a:lnTo>
                    <a:pt x="20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5" name="Google Shape;775;p5"/>
            <p:cNvSpPr/>
            <p:nvPr/>
          </p:nvSpPr>
          <p:spPr>
            <a:xfrm>
              <a:off x="1776471" y="528410"/>
              <a:ext cx="43645" cy="28548"/>
            </a:xfrm>
            <a:custGeom>
              <a:avLst/>
              <a:gdLst/>
              <a:ahLst/>
              <a:cxnLst/>
              <a:rect l="l" t="t" r="r" b="b"/>
              <a:pathLst>
                <a:path w="876" h="573" extrusionOk="0">
                  <a:moveTo>
                    <a:pt x="404" y="0"/>
                  </a:moveTo>
                  <a:lnTo>
                    <a:pt x="270" y="101"/>
                  </a:lnTo>
                  <a:lnTo>
                    <a:pt x="169" y="202"/>
                  </a:lnTo>
                  <a:lnTo>
                    <a:pt x="68" y="303"/>
                  </a:lnTo>
                  <a:lnTo>
                    <a:pt x="34" y="371"/>
                  </a:lnTo>
                  <a:lnTo>
                    <a:pt x="0" y="438"/>
                  </a:lnTo>
                  <a:lnTo>
                    <a:pt x="0" y="505"/>
                  </a:lnTo>
                  <a:lnTo>
                    <a:pt x="68" y="505"/>
                  </a:lnTo>
                  <a:lnTo>
                    <a:pt x="202" y="472"/>
                  </a:lnTo>
                  <a:lnTo>
                    <a:pt x="303" y="371"/>
                  </a:lnTo>
                  <a:lnTo>
                    <a:pt x="438" y="236"/>
                  </a:lnTo>
                  <a:lnTo>
                    <a:pt x="573" y="404"/>
                  </a:lnTo>
                  <a:lnTo>
                    <a:pt x="741" y="539"/>
                  </a:lnTo>
                  <a:lnTo>
                    <a:pt x="775" y="573"/>
                  </a:lnTo>
                  <a:lnTo>
                    <a:pt x="842" y="573"/>
                  </a:lnTo>
                  <a:lnTo>
                    <a:pt x="842" y="539"/>
                  </a:lnTo>
                  <a:lnTo>
                    <a:pt x="876" y="505"/>
                  </a:lnTo>
                  <a:lnTo>
                    <a:pt x="842" y="472"/>
                  </a:lnTo>
                  <a:lnTo>
                    <a:pt x="707" y="303"/>
                  </a:lnTo>
                  <a:lnTo>
                    <a:pt x="505" y="135"/>
                  </a:lnTo>
                  <a:lnTo>
                    <a:pt x="505" y="101"/>
                  </a:lnTo>
                  <a:lnTo>
                    <a:pt x="505" y="34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6" name="Google Shape;776;p5"/>
            <p:cNvSpPr/>
            <p:nvPr/>
          </p:nvSpPr>
          <p:spPr>
            <a:xfrm>
              <a:off x="1689232" y="358964"/>
              <a:ext cx="303668" cy="140948"/>
            </a:xfrm>
            <a:custGeom>
              <a:avLst/>
              <a:gdLst/>
              <a:ahLst/>
              <a:cxnLst/>
              <a:rect l="l" t="t" r="r" b="b"/>
              <a:pathLst>
                <a:path w="6095" h="2829" extrusionOk="0">
                  <a:moveTo>
                    <a:pt x="5522" y="1"/>
                  </a:moveTo>
                  <a:lnTo>
                    <a:pt x="3704" y="68"/>
                  </a:lnTo>
                  <a:lnTo>
                    <a:pt x="1886" y="169"/>
                  </a:lnTo>
                  <a:lnTo>
                    <a:pt x="977" y="236"/>
                  </a:lnTo>
                  <a:lnTo>
                    <a:pt x="505" y="304"/>
                  </a:lnTo>
                  <a:lnTo>
                    <a:pt x="68" y="405"/>
                  </a:lnTo>
                  <a:lnTo>
                    <a:pt x="34" y="438"/>
                  </a:lnTo>
                  <a:lnTo>
                    <a:pt x="68" y="472"/>
                  </a:lnTo>
                  <a:lnTo>
                    <a:pt x="101" y="472"/>
                  </a:lnTo>
                  <a:lnTo>
                    <a:pt x="34" y="708"/>
                  </a:lnTo>
                  <a:lnTo>
                    <a:pt x="0" y="977"/>
                  </a:lnTo>
                  <a:lnTo>
                    <a:pt x="34" y="1482"/>
                  </a:lnTo>
                  <a:lnTo>
                    <a:pt x="101" y="2088"/>
                  </a:lnTo>
                  <a:lnTo>
                    <a:pt x="202" y="2728"/>
                  </a:lnTo>
                  <a:lnTo>
                    <a:pt x="236" y="2761"/>
                  </a:lnTo>
                  <a:lnTo>
                    <a:pt x="270" y="2795"/>
                  </a:lnTo>
                  <a:lnTo>
                    <a:pt x="371" y="2761"/>
                  </a:lnTo>
                  <a:lnTo>
                    <a:pt x="1044" y="2829"/>
                  </a:lnTo>
                  <a:lnTo>
                    <a:pt x="1718" y="2829"/>
                  </a:lnTo>
                  <a:lnTo>
                    <a:pt x="2425" y="2795"/>
                  </a:lnTo>
                  <a:lnTo>
                    <a:pt x="3098" y="2728"/>
                  </a:lnTo>
                  <a:lnTo>
                    <a:pt x="4445" y="2593"/>
                  </a:lnTo>
                  <a:lnTo>
                    <a:pt x="5152" y="2559"/>
                  </a:lnTo>
                  <a:lnTo>
                    <a:pt x="5825" y="2559"/>
                  </a:lnTo>
                  <a:lnTo>
                    <a:pt x="5892" y="2593"/>
                  </a:lnTo>
                  <a:lnTo>
                    <a:pt x="5960" y="2593"/>
                  </a:lnTo>
                  <a:lnTo>
                    <a:pt x="6027" y="2559"/>
                  </a:lnTo>
                  <a:lnTo>
                    <a:pt x="6061" y="2492"/>
                  </a:lnTo>
                  <a:lnTo>
                    <a:pt x="6094" y="1280"/>
                  </a:lnTo>
                  <a:lnTo>
                    <a:pt x="6061" y="674"/>
                  </a:lnTo>
                  <a:lnTo>
                    <a:pt x="6061" y="371"/>
                  </a:lnTo>
                  <a:lnTo>
                    <a:pt x="6027" y="68"/>
                  </a:lnTo>
                  <a:lnTo>
                    <a:pt x="5993" y="34"/>
                  </a:lnTo>
                  <a:lnTo>
                    <a:pt x="5926" y="34"/>
                  </a:lnTo>
                  <a:lnTo>
                    <a:pt x="5892" y="68"/>
                  </a:lnTo>
                  <a:lnTo>
                    <a:pt x="5825" y="607"/>
                  </a:lnTo>
                  <a:lnTo>
                    <a:pt x="5791" y="1179"/>
                  </a:lnTo>
                  <a:lnTo>
                    <a:pt x="5825" y="2290"/>
                  </a:lnTo>
                  <a:lnTo>
                    <a:pt x="5152" y="2324"/>
                  </a:lnTo>
                  <a:lnTo>
                    <a:pt x="4478" y="2357"/>
                  </a:lnTo>
                  <a:lnTo>
                    <a:pt x="3132" y="2458"/>
                  </a:lnTo>
                  <a:lnTo>
                    <a:pt x="1785" y="2593"/>
                  </a:lnTo>
                  <a:lnTo>
                    <a:pt x="1111" y="2627"/>
                  </a:lnTo>
                  <a:lnTo>
                    <a:pt x="438" y="2627"/>
                  </a:lnTo>
                  <a:lnTo>
                    <a:pt x="303" y="2054"/>
                  </a:lnTo>
                  <a:lnTo>
                    <a:pt x="236" y="1448"/>
                  </a:lnTo>
                  <a:lnTo>
                    <a:pt x="236" y="977"/>
                  </a:lnTo>
                  <a:lnTo>
                    <a:pt x="236" y="708"/>
                  </a:lnTo>
                  <a:lnTo>
                    <a:pt x="169" y="472"/>
                  </a:lnTo>
                  <a:lnTo>
                    <a:pt x="472" y="506"/>
                  </a:lnTo>
                  <a:lnTo>
                    <a:pt x="775" y="506"/>
                  </a:lnTo>
                  <a:lnTo>
                    <a:pt x="1414" y="472"/>
                  </a:lnTo>
                  <a:lnTo>
                    <a:pt x="2054" y="405"/>
                  </a:lnTo>
                  <a:lnTo>
                    <a:pt x="2694" y="337"/>
                  </a:lnTo>
                  <a:lnTo>
                    <a:pt x="3973" y="270"/>
                  </a:lnTo>
                  <a:lnTo>
                    <a:pt x="4781" y="236"/>
                  </a:lnTo>
                  <a:lnTo>
                    <a:pt x="5219" y="203"/>
                  </a:lnTo>
                  <a:lnTo>
                    <a:pt x="5455" y="203"/>
                  </a:lnTo>
                  <a:lnTo>
                    <a:pt x="5556" y="236"/>
                  </a:lnTo>
                  <a:lnTo>
                    <a:pt x="5623" y="270"/>
                  </a:lnTo>
                  <a:lnTo>
                    <a:pt x="5690" y="304"/>
                  </a:lnTo>
                  <a:lnTo>
                    <a:pt x="5758" y="270"/>
                  </a:lnTo>
                  <a:lnTo>
                    <a:pt x="5791" y="236"/>
                  </a:lnTo>
                  <a:lnTo>
                    <a:pt x="5791" y="169"/>
                  </a:lnTo>
                  <a:lnTo>
                    <a:pt x="5758" y="102"/>
                  </a:lnTo>
                  <a:lnTo>
                    <a:pt x="5690" y="34"/>
                  </a:lnTo>
                  <a:lnTo>
                    <a:pt x="562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7" name="Google Shape;777;p5"/>
            <p:cNvSpPr/>
            <p:nvPr/>
          </p:nvSpPr>
          <p:spPr>
            <a:xfrm>
              <a:off x="120820" y="568667"/>
              <a:ext cx="124207" cy="154350"/>
            </a:xfrm>
            <a:custGeom>
              <a:avLst/>
              <a:gdLst/>
              <a:ahLst/>
              <a:cxnLst/>
              <a:rect l="l" t="t" r="r" b="b"/>
              <a:pathLst>
                <a:path w="2493" h="3098" extrusionOk="0">
                  <a:moveTo>
                    <a:pt x="2290" y="202"/>
                  </a:moveTo>
                  <a:lnTo>
                    <a:pt x="2223" y="808"/>
                  </a:lnTo>
                  <a:lnTo>
                    <a:pt x="2223" y="1482"/>
                  </a:lnTo>
                  <a:lnTo>
                    <a:pt x="2223" y="2155"/>
                  </a:lnTo>
                  <a:lnTo>
                    <a:pt x="2290" y="2727"/>
                  </a:lnTo>
                  <a:lnTo>
                    <a:pt x="2324" y="2761"/>
                  </a:lnTo>
                  <a:lnTo>
                    <a:pt x="2290" y="2761"/>
                  </a:lnTo>
                  <a:lnTo>
                    <a:pt x="2055" y="2727"/>
                  </a:lnTo>
                  <a:lnTo>
                    <a:pt x="1819" y="2727"/>
                  </a:lnTo>
                  <a:lnTo>
                    <a:pt x="1348" y="2761"/>
                  </a:lnTo>
                  <a:lnTo>
                    <a:pt x="371" y="2761"/>
                  </a:lnTo>
                  <a:lnTo>
                    <a:pt x="270" y="1515"/>
                  </a:lnTo>
                  <a:lnTo>
                    <a:pt x="169" y="236"/>
                  </a:lnTo>
                  <a:lnTo>
                    <a:pt x="708" y="303"/>
                  </a:lnTo>
                  <a:lnTo>
                    <a:pt x="1213" y="270"/>
                  </a:lnTo>
                  <a:lnTo>
                    <a:pt x="2290" y="202"/>
                  </a:lnTo>
                  <a:close/>
                  <a:moveTo>
                    <a:pt x="2290" y="0"/>
                  </a:moveTo>
                  <a:lnTo>
                    <a:pt x="1752" y="34"/>
                  </a:lnTo>
                  <a:lnTo>
                    <a:pt x="1213" y="34"/>
                  </a:lnTo>
                  <a:lnTo>
                    <a:pt x="674" y="68"/>
                  </a:lnTo>
                  <a:lnTo>
                    <a:pt x="136" y="101"/>
                  </a:lnTo>
                  <a:lnTo>
                    <a:pt x="102" y="135"/>
                  </a:lnTo>
                  <a:lnTo>
                    <a:pt x="68" y="169"/>
                  </a:lnTo>
                  <a:lnTo>
                    <a:pt x="34" y="202"/>
                  </a:lnTo>
                  <a:lnTo>
                    <a:pt x="34" y="236"/>
                  </a:lnTo>
                  <a:lnTo>
                    <a:pt x="1" y="876"/>
                  </a:lnTo>
                  <a:lnTo>
                    <a:pt x="34" y="1616"/>
                  </a:lnTo>
                  <a:lnTo>
                    <a:pt x="102" y="2357"/>
                  </a:lnTo>
                  <a:lnTo>
                    <a:pt x="203" y="3030"/>
                  </a:lnTo>
                  <a:lnTo>
                    <a:pt x="237" y="3064"/>
                  </a:lnTo>
                  <a:lnTo>
                    <a:pt x="304" y="3098"/>
                  </a:lnTo>
                  <a:lnTo>
                    <a:pt x="371" y="3064"/>
                  </a:lnTo>
                  <a:lnTo>
                    <a:pt x="405" y="2997"/>
                  </a:lnTo>
                  <a:lnTo>
                    <a:pt x="405" y="2896"/>
                  </a:lnTo>
                  <a:lnTo>
                    <a:pt x="876" y="2997"/>
                  </a:lnTo>
                  <a:lnTo>
                    <a:pt x="1348" y="3030"/>
                  </a:lnTo>
                  <a:lnTo>
                    <a:pt x="1853" y="2997"/>
                  </a:lnTo>
                  <a:lnTo>
                    <a:pt x="2088" y="2963"/>
                  </a:lnTo>
                  <a:lnTo>
                    <a:pt x="2290" y="2896"/>
                  </a:lnTo>
                  <a:lnTo>
                    <a:pt x="2358" y="2862"/>
                  </a:lnTo>
                  <a:lnTo>
                    <a:pt x="2358" y="2795"/>
                  </a:lnTo>
                  <a:lnTo>
                    <a:pt x="2425" y="2795"/>
                  </a:lnTo>
                  <a:lnTo>
                    <a:pt x="2459" y="2761"/>
                  </a:lnTo>
                  <a:lnTo>
                    <a:pt x="2459" y="2727"/>
                  </a:lnTo>
                  <a:lnTo>
                    <a:pt x="2492" y="2121"/>
                  </a:lnTo>
                  <a:lnTo>
                    <a:pt x="2459" y="1448"/>
                  </a:lnTo>
                  <a:lnTo>
                    <a:pt x="2425" y="775"/>
                  </a:lnTo>
                  <a:lnTo>
                    <a:pt x="2358" y="169"/>
                  </a:lnTo>
                  <a:lnTo>
                    <a:pt x="2391" y="135"/>
                  </a:lnTo>
                  <a:lnTo>
                    <a:pt x="2391" y="68"/>
                  </a:lnTo>
                  <a:lnTo>
                    <a:pt x="2358" y="34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8" name="Google Shape;778;p5"/>
            <p:cNvSpPr/>
            <p:nvPr/>
          </p:nvSpPr>
          <p:spPr>
            <a:xfrm>
              <a:off x="1274908" y="519990"/>
              <a:ext cx="159382" cy="144336"/>
            </a:xfrm>
            <a:custGeom>
              <a:avLst/>
              <a:gdLst/>
              <a:ahLst/>
              <a:cxnLst/>
              <a:rect l="l" t="t" r="r" b="b"/>
              <a:pathLst>
                <a:path w="3199" h="2897" extrusionOk="0">
                  <a:moveTo>
                    <a:pt x="2963" y="1"/>
                  </a:moveTo>
                  <a:lnTo>
                    <a:pt x="2963" y="34"/>
                  </a:lnTo>
                  <a:lnTo>
                    <a:pt x="2930" y="34"/>
                  </a:lnTo>
                  <a:lnTo>
                    <a:pt x="2896" y="338"/>
                  </a:lnTo>
                  <a:lnTo>
                    <a:pt x="2930" y="674"/>
                  </a:lnTo>
                  <a:lnTo>
                    <a:pt x="2963" y="1280"/>
                  </a:lnTo>
                  <a:lnTo>
                    <a:pt x="2963" y="1954"/>
                  </a:lnTo>
                  <a:lnTo>
                    <a:pt x="2997" y="2290"/>
                  </a:lnTo>
                  <a:lnTo>
                    <a:pt x="3031" y="2627"/>
                  </a:lnTo>
                  <a:lnTo>
                    <a:pt x="2324" y="2627"/>
                  </a:lnTo>
                  <a:lnTo>
                    <a:pt x="1650" y="2661"/>
                  </a:lnTo>
                  <a:lnTo>
                    <a:pt x="977" y="2694"/>
                  </a:lnTo>
                  <a:lnTo>
                    <a:pt x="640" y="2728"/>
                  </a:lnTo>
                  <a:lnTo>
                    <a:pt x="270" y="2728"/>
                  </a:lnTo>
                  <a:lnTo>
                    <a:pt x="303" y="2391"/>
                  </a:lnTo>
                  <a:lnTo>
                    <a:pt x="303" y="2055"/>
                  </a:lnTo>
                  <a:lnTo>
                    <a:pt x="270" y="1348"/>
                  </a:lnTo>
                  <a:lnTo>
                    <a:pt x="236" y="742"/>
                  </a:lnTo>
                  <a:lnTo>
                    <a:pt x="202" y="439"/>
                  </a:lnTo>
                  <a:lnTo>
                    <a:pt x="101" y="169"/>
                  </a:lnTo>
                  <a:lnTo>
                    <a:pt x="68" y="169"/>
                  </a:lnTo>
                  <a:lnTo>
                    <a:pt x="0" y="472"/>
                  </a:lnTo>
                  <a:lnTo>
                    <a:pt x="0" y="775"/>
                  </a:lnTo>
                  <a:lnTo>
                    <a:pt x="34" y="1381"/>
                  </a:lnTo>
                  <a:lnTo>
                    <a:pt x="34" y="1718"/>
                  </a:lnTo>
                  <a:lnTo>
                    <a:pt x="101" y="2088"/>
                  </a:lnTo>
                  <a:lnTo>
                    <a:pt x="236" y="2795"/>
                  </a:lnTo>
                  <a:lnTo>
                    <a:pt x="236" y="2829"/>
                  </a:lnTo>
                  <a:lnTo>
                    <a:pt x="236" y="2863"/>
                  </a:lnTo>
                  <a:lnTo>
                    <a:pt x="539" y="2795"/>
                  </a:lnTo>
                  <a:lnTo>
                    <a:pt x="573" y="2863"/>
                  </a:lnTo>
                  <a:lnTo>
                    <a:pt x="640" y="2896"/>
                  </a:lnTo>
                  <a:lnTo>
                    <a:pt x="842" y="2896"/>
                  </a:lnTo>
                  <a:lnTo>
                    <a:pt x="1347" y="2863"/>
                  </a:lnTo>
                  <a:lnTo>
                    <a:pt x="2223" y="2829"/>
                  </a:lnTo>
                  <a:lnTo>
                    <a:pt x="3064" y="2795"/>
                  </a:lnTo>
                  <a:lnTo>
                    <a:pt x="3098" y="2795"/>
                  </a:lnTo>
                  <a:lnTo>
                    <a:pt x="3098" y="2762"/>
                  </a:lnTo>
                  <a:lnTo>
                    <a:pt x="3132" y="2762"/>
                  </a:lnTo>
                  <a:lnTo>
                    <a:pt x="3165" y="2694"/>
                  </a:lnTo>
                  <a:lnTo>
                    <a:pt x="3199" y="2391"/>
                  </a:lnTo>
                  <a:lnTo>
                    <a:pt x="3199" y="2088"/>
                  </a:lnTo>
                  <a:lnTo>
                    <a:pt x="3199" y="1482"/>
                  </a:lnTo>
                  <a:lnTo>
                    <a:pt x="3165" y="742"/>
                  </a:lnTo>
                  <a:lnTo>
                    <a:pt x="3132" y="371"/>
                  </a:lnTo>
                  <a:lnTo>
                    <a:pt x="3031" y="34"/>
                  </a:lnTo>
                  <a:lnTo>
                    <a:pt x="296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79" name="Google Shape;779;p5"/>
            <p:cNvSpPr/>
            <p:nvPr/>
          </p:nvSpPr>
          <p:spPr>
            <a:xfrm>
              <a:off x="402665" y="555214"/>
              <a:ext cx="171140" cy="149368"/>
            </a:xfrm>
            <a:custGeom>
              <a:avLst/>
              <a:gdLst/>
              <a:ahLst/>
              <a:cxnLst/>
              <a:rect l="l" t="t" r="r" b="b"/>
              <a:pathLst>
                <a:path w="3435" h="2998" extrusionOk="0">
                  <a:moveTo>
                    <a:pt x="1279" y="1"/>
                  </a:moveTo>
                  <a:lnTo>
                    <a:pt x="909" y="68"/>
                  </a:lnTo>
                  <a:lnTo>
                    <a:pt x="539" y="136"/>
                  </a:lnTo>
                  <a:lnTo>
                    <a:pt x="202" y="203"/>
                  </a:lnTo>
                  <a:lnTo>
                    <a:pt x="101" y="136"/>
                  </a:lnTo>
                  <a:lnTo>
                    <a:pt x="34" y="136"/>
                  </a:lnTo>
                  <a:lnTo>
                    <a:pt x="0" y="169"/>
                  </a:lnTo>
                  <a:lnTo>
                    <a:pt x="0" y="237"/>
                  </a:lnTo>
                  <a:lnTo>
                    <a:pt x="34" y="304"/>
                  </a:lnTo>
                  <a:lnTo>
                    <a:pt x="67" y="338"/>
                  </a:lnTo>
                  <a:lnTo>
                    <a:pt x="34" y="876"/>
                  </a:lnTo>
                  <a:lnTo>
                    <a:pt x="67" y="1684"/>
                  </a:lnTo>
                  <a:lnTo>
                    <a:pt x="135" y="2896"/>
                  </a:lnTo>
                  <a:lnTo>
                    <a:pt x="168" y="2997"/>
                  </a:lnTo>
                  <a:lnTo>
                    <a:pt x="269" y="2997"/>
                  </a:lnTo>
                  <a:lnTo>
                    <a:pt x="337" y="2964"/>
                  </a:lnTo>
                  <a:lnTo>
                    <a:pt x="337" y="2896"/>
                  </a:lnTo>
                  <a:lnTo>
                    <a:pt x="303" y="1920"/>
                  </a:lnTo>
                  <a:lnTo>
                    <a:pt x="269" y="944"/>
                  </a:lnTo>
                  <a:lnTo>
                    <a:pt x="269" y="674"/>
                  </a:lnTo>
                  <a:lnTo>
                    <a:pt x="269" y="371"/>
                  </a:lnTo>
                  <a:lnTo>
                    <a:pt x="943" y="304"/>
                  </a:lnTo>
                  <a:lnTo>
                    <a:pt x="1616" y="270"/>
                  </a:lnTo>
                  <a:lnTo>
                    <a:pt x="1986" y="270"/>
                  </a:lnTo>
                  <a:lnTo>
                    <a:pt x="2357" y="304"/>
                  </a:lnTo>
                  <a:lnTo>
                    <a:pt x="2727" y="338"/>
                  </a:lnTo>
                  <a:lnTo>
                    <a:pt x="3098" y="371"/>
                  </a:lnTo>
                  <a:lnTo>
                    <a:pt x="3131" y="371"/>
                  </a:lnTo>
                  <a:lnTo>
                    <a:pt x="3098" y="573"/>
                  </a:lnTo>
                  <a:lnTo>
                    <a:pt x="3098" y="809"/>
                  </a:lnTo>
                  <a:lnTo>
                    <a:pt x="3098" y="1247"/>
                  </a:lnTo>
                  <a:lnTo>
                    <a:pt x="3098" y="2055"/>
                  </a:lnTo>
                  <a:lnTo>
                    <a:pt x="3131" y="2425"/>
                  </a:lnTo>
                  <a:lnTo>
                    <a:pt x="3199" y="2795"/>
                  </a:lnTo>
                  <a:lnTo>
                    <a:pt x="2795" y="2728"/>
                  </a:lnTo>
                  <a:lnTo>
                    <a:pt x="2390" y="2728"/>
                  </a:lnTo>
                  <a:lnTo>
                    <a:pt x="1549" y="2694"/>
                  </a:lnTo>
                  <a:lnTo>
                    <a:pt x="774" y="2694"/>
                  </a:lnTo>
                  <a:lnTo>
                    <a:pt x="640" y="2762"/>
                  </a:lnTo>
                  <a:lnTo>
                    <a:pt x="505" y="2795"/>
                  </a:lnTo>
                  <a:lnTo>
                    <a:pt x="370" y="2896"/>
                  </a:lnTo>
                  <a:lnTo>
                    <a:pt x="539" y="2930"/>
                  </a:lnTo>
                  <a:lnTo>
                    <a:pt x="707" y="2964"/>
                  </a:lnTo>
                  <a:lnTo>
                    <a:pt x="1044" y="2964"/>
                  </a:lnTo>
                  <a:lnTo>
                    <a:pt x="1414" y="2930"/>
                  </a:lnTo>
                  <a:lnTo>
                    <a:pt x="1784" y="2930"/>
                  </a:lnTo>
                  <a:lnTo>
                    <a:pt x="2525" y="2997"/>
                  </a:lnTo>
                  <a:lnTo>
                    <a:pt x="2929" y="2997"/>
                  </a:lnTo>
                  <a:lnTo>
                    <a:pt x="3300" y="2930"/>
                  </a:lnTo>
                  <a:lnTo>
                    <a:pt x="3333" y="2930"/>
                  </a:lnTo>
                  <a:lnTo>
                    <a:pt x="3401" y="2896"/>
                  </a:lnTo>
                  <a:lnTo>
                    <a:pt x="3434" y="2829"/>
                  </a:lnTo>
                  <a:lnTo>
                    <a:pt x="3434" y="2795"/>
                  </a:lnTo>
                  <a:lnTo>
                    <a:pt x="3367" y="2425"/>
                  </a:lnTo>
                  <a:lnTo>
                    <a:pt x="3333" y="2021"/>
                  </a:lnTo>
                  <a:lnTo>
                    <a:pt x="3300" y="1247"/>
                  </a:lnTo>
                  <a:lnTo>
                    <a:pt x="3333" y="674"/>
                  </a:lnTo>
                  <a:lnTo>
                    <a:pt x="3300" y="405"/>
                  </a:lnTo>
                  <a:lnTo>
                    <a:pt x="3232" y="136"/>
                  </a:lnTo>
                  <a:lnTo>
                    <a:pt x="3232" y="102"/>
                  </a:lnTo>
                  <a:lnTo>
                    <a:pt x="3199" y="136"/>
                  </a:lnTo>
                  <a:lnTo>
                    <a:pt x="3165" y="270"/>
                  </a:lnTo>
                  <a:lnTo>
                    <a:pt x="3131" y="237"/>
                  </a:lnTo>
                  <a:lnTo>
                    <a:pt x="2795" y="102"/>
                  </a:lnTo>
                  <a:lnTo>
                    <a:pt x="2424" y="35"/>
                  </a:lnTo>
                  <a:lnTo>
                    <a:pt x="20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0" name="Google Shape;780;p5"/>
            <p:cNvSpPr/>
            <p:nvPr/>
          </p:nvSpPr>
          <p:spPr>
            <a:xfrm>
              <a:off x="1890515" y="21815"/>
              <a:ext cx="55403" cy="40306"/>
            </a:xfrm>
            <a:custGeom>
              <a:avLst/>
              <a:gdLst/>
              <a:ahLst/>
              <a:cxnLst/>
              <a:rect l="l" t="t" r="r" b="b"/>
              <a:pathLst>
                <a:path w="1112" h="809" extrusionOk="0">
                  <a:moveTo>
                    <a:pt x="371" y="0"/>
                  </a:moveTo>
                  <a:lnTo>
                    <a:pt x="304" y="34"/>
                  </a:lnTo>
                  <a:lnTo>
                    <a:pt x="203" y="101"/>
                  </a:lnTo>
                  <a:lnTo>
                    <a:pt x="102" y="202"/>
                  </a:lnTo>
                  <a:lnTo>
                    <a:pt x="1" y="404"/>
                  </a:lnTo>
                  <a:lnTo>
                    <a:pt x="1" y="472"/>
                  </a:lnTo>
                  <a:lnTo>
                    <a:pt x="34" y="505"/>
                  </a:lnTo>
                  <a:lnTo>
                    <a:pt x="371" y="775"/>
                  </a:lnTo>
                  <a:lnTo>
                    <a:pt x="472" y="808"/>
                  </a:lnTo>
                  <a:lnTo>
                    <a:pt x="539" y="775"/>
                  </a:lnTo>
                  <a:lnTo>
                    <a:pt x="573" y="707"/>
                  </a:lnTo>
                  <a:lnTo>
                    <a:pt x="506" y="606"/>
                  </a:lnTo>
                  <a:lnTo>
                    <a:pt x="337" y="472"/>
                  </a:lnTo>
                  <a:lnTo>
                    <a:pt x="674" y="438"/>
                  </a:lnTo>
                  <a:lnTo>
                    <a:pt x="1044" y="371"/>
                  </a:lnTo>
                  <a:lnTo>
                    <a:pt x="1112" y="337"/>
                  </a:lnTo>
                  <a:lnTo>
                    <a:pt x="1112" y="270"/>
                  </a:lnTo>
                  <a:lnTo>
                    <a:pt x="1112" y="202"/>
                  </a:lnTo>
                  <a:lnTo>
                    <a:pt x="1044" y="169"/>
                  </a:lnTo>
                  <a:lnTo>
                    <a:pt x="674" y="236"/>
                  </a:lnTo>
                  <a:lnTo>
                    <a:pt x="304" y="303"/>
                  </a:lnTo>
                  <a:lnTo>
                    <a:pt x="405" y="169"/>
                  </a:lnTo>
                  <a:lnTo>
                    <a:pt x="438" y="101"/>
                  </a:lnTo>
                  <a:lnTo>
                    <a:pt x="405" y="34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1" name="Google Shape;781;p5"/>
            <p:cNvSpPr/>
            <p:nvPr/>
          </p:nvSpPr>
          <p:spPr>
            <a:xfrm>
              <a:off x="390907" y="-7"/>
              <a:ext cx="10114" cy="11808"/>
            </a:xfrm>
            <a:custGeom>
              <a:avLst/>
              <a:gdLst/>
              <a:ahLst/>
              <a:cxnLst/>
              <a:rect l="l" t="t" r="r" b="b"/>
              <a:pathLst>
                <a:path w="203" h="237" extrusionOk="0">
                  <a:moveTo>
                    <a:pt x="0" y="1"/>
                  </a:moveTo>
                  <a:lnTo>
                    <a:pt x="0" y="135"/>
                  </a:lnTo>
                  <a:lnTo>
                    <a:pt x="34" y="203"/>
                  </a:lnTo>
                  <a:lnTo>
                    <a:pt x="101" y="236"/>
                  </a:lnTo>
                  <a:lnTo>
                    <a:pt x="169" y="203"/>
                  </a:lnTo>
                  <a:lnTo>
                    <a:pt x="202" y="135"/>
                  </a:lnTo>
                  <a:lnTo>
                    <a:pt x="2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2" name="Google Shape;782;p5"/>
            <p:cNvSpPr/>
            <p:nvPr/>
          </p:nvSpPr>
          <p:spPr>
            <a:xfrm>
              <a:off x="853858" y="404252"/>
              <a:ext cx="124207" cy="134272"/>
            </a:xfrm>
            <a:custGeom>
              <a:avLst/>
              <a:gdLst/>
              <a:ahLst/>
              <a:cxnLst/>
              <a:rect l="l" t="t" r="r" b="b"/>
              <a:pathLst>
                <a:path w="2493" h="2695" extrusionOk="0">
                  <a:moveTo>
                    <a:pt x="2290" y="203"/>
                  </a:moveTo>
                  <a:lnTo>
                    <a:pt x="2223" y="708"/>
                  </a:lnTo>
                  <a:lnTo>
                    <a:pt x="2223" y="1246"/>
                  </a:lnTo>
                  <a:lnTo>
                    <a:pt x="2223" y="1785"/>
                  </a:lnTo>
                  <a:lnTo>
                    <a:pt x="2290" y="2324"/>
                  </a:lnTo>
                  <a:lnTo>
                    <a:pt x="2290" y="2357"/>
                  </a:lnTo>
                  <a:lnTo>
                    <a:pt x="2055" y="2324"/>
                  </a:lnTo>
                  <a:lnTo>
                    <a:pt x="1819" y="2324"/>
                  </a:lnTo>
                  <a:lnTo>
                    <a:pt x="1347" y="2357"/>
                  </a:lnTo>
                  <a:lnTo>
                    <a:pt x="371" y="2357"/>
                  </a:lnTo>
                  <a:lnTo>
                    <a:pt x="270" y="1280"/>
                  </a:lnTo>
                  <a:lnTo>
                    <a:pt x="203" y="236"/>
                  </a:lnTo>
                  <a:lnTo>
                    <a:pt x="203" y="236"/>
                  </a:lnTo>
                  <a:lnTo>
                    <a:pt x="708" y="270"/>
                  </a:lnTo>
                  <a:lnTo>
                    <a:pt x="1246" y="270"/>
                  </a:lnTo>
                  <a:lnTo>
                    <a:pt x="2290" y="203"/>
                  </a:lnTo>
                  <a:close/>
                  <a:moveTo>
                    <a:pt x="1785" y="1"/>
                  </a:moveTo>
                  <a:lnTo>
                    <a:pt x="1246" y="34"/>
                  </a:lnTo>
                  <a:lnTo>
                    <a:pt x="708" y="34"/>
                  </a:lnTo>
                  <a:lnTo>
                    <a:pt x="169" y="68"/>
                  </a:lnTo>
                  <a:lnTo>
                    <a:pt x="102" y="102"/>
                  </a:lnTo>
                  <a:lnTo>
                    <a:pt x="102" y="135"/>
                  </a:lnTo>
                  <a:lnTo>
                    <a:pt x="34" y="169"/>
                  </a:lnTo>
                  <a:lnTo>
                    <a:pt x="34" y="203"/>
                  </a:lnTo>
                  <a:lnTo>
                    <a:pt x="1" y="809"/>
                  </a:lnTo>
                  <a:lnTo>
                    <a:pt x="34" y="1415"/>
                  </a:lnTo>
                  <a:lnTo>
                    <a:pt x="102" y="2021"/>
                  </a:lnTo>
                  <a:lnTo>
                    <a:pt x="203" y="2627"/>
                  </a:lnTo>
                  <a:lnTo>
                    <a:pt x="236" y="2661"/>
                  </a:lnTo>
                  <a:lnTo>
                    <a:pt x="304" y="2694"/>
                  </a:lnTo>
                  <a:lnTo>
                    <a:pt x="371" y="2661"/>
                  </a:lnTo>
                  <a:lnTo>
                    <a:pt x="405" y="2560"/>
                  </a:lnTo>
                  <a:lnTo>
                    <a:pt x="405" y="2492"/>
                  </a:lnTo>
                  <a:lnTo>
                    <a:pt x="842" y="2593"/>
                  </a:lnTo>
                  <a:lnTo>
                    <a:pt x="1853" y="2593"/>
                  </a:lnTo>
                  <a:lnTo>
                    <a:pt x="2088" y="2560"/>
                  </a:lnTo>
                  <a:lnTo>
                    <a:pt x="2290" y="2492"/>
                  </a:lnTo>
                  <a:lnTo>
                    <a:pt x="2324" y="2458"/>
                  </a:lnTo>
                  <a:lnTo>
                    <a:pt x="2324" y="2391"/>
                  </a:lnTo>
                  <a:lnTo>
                    <a:pt x="2425" y="2391"/>
                  </a:lnTo>
                  <a:lnTo>
                    <a:pt x="2459" y="2357"/>
                  </a:lnTo>
                  <a:lnTo>
                    <a:pt x="2459" y="2290"/>
                  </a:lnTo>
                  <a:lnTo>
                    <a:pt x="2492" y="1785"/>
                  </a:lnTo>
                  <a:lnTo>
                    <a:pt x="2459" y="1246"/>
                  </a:lnTo>
                  <a:lnTo>
                    <a:pt x="2425" y="708"/>
                  </a:lnTo>
                  <a:lnTo>
                    <a:pt x="2391" y="169"/>
                  </a:lnTo>
                  <a:lnTo>
                    <a:pt x="2425" y="102"/>
                  </a:lnTo>
                  <a:lnTo>
                    <a:pt x="2425" y="68"/>
                  </a:lnTo>
                  <a:lnTo>
                    <a:pt x="239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3" name="Google Shape;783;p5"/>
            <p:cNvSpPr/>
            <p:nvPr/>
          </p:nvSpPr>
          <p:spPr>
            <a:xfrm>
              <a:off x="1333599" y="248258"/>
              <a:ext cx="127546" cy="125852"/>
            </a:xfrm>
            <a:custGeom>
              <a:avLst/>
              <a:gdLst/>
              <a:ahLst/>
              <a:cxnLst/>
              <a:rect l="l" t="t" r="r" b="b"/>
              <a:pathLst>
                <a:path w="2560" h="2526" extrusionOk="0">
                  <a:moveTo>
                    <a:pt x="2324" y="1"/>
                  </a:moveTo>
                  <a:lnTo>
                    <a:pt x="2290" y="34"/>
                  </a:lnTo>
                  <a:lnTo>
                    <a:pt x="2290" y="68"/>
                  </a:lnTo>
                  <a:lnTo>
                    <a:pt x="2257" y="135"/>
                  </a:lnTo>
                  <a:lnTo>
                    <a:pt x="1920" y="102"/>
                  </a:lnTo>
                  <a:lnTo>
                    <a:pt x="1550" y="135"/>
                  </a:lnTo>
                  <a:lnTo>
                    <a:pt x="843" y="169"/>
                  </a:lnTo>
                  <a:lnTo>
                    <a:pt x="236" y="169"/>
                  </a:lnTo>
                  <a:lnTo>
                    <a:pt x="169" y="203"/>
                  </a:lnTo>
                  <a:lnTo>
                    <a:pt x="102" y="270"/>
                  </a:lnTo>
                  <a:lnTo>
                    <a:pt x="68" y="236"/>
                  </a:lnTo>
                  <a:lnTo>
                    <a:pt x="34" y="236"/>
                  </a:lnTo>
                  <a:lnTo>
                    <a:pt x="1" y="506"/>
                  </a:lnTo>
                  <a:lnTo>
                    <a:pt x="1" y="741"/>
                  </a:lnTo>
                  <a:lnTo>
                    <a:pt x="34" y="1246"/>
                  </a:lnTo>
                  <a:lnTo>
                    <a:pt x="68" y="2425"/>
                  </a:lnTo>
                  <a:lnTo>
                    <a:pt x="102" y="2492"/>
                  </a:lnTo>
                  <a:lnTo>
                    <a:pt x="169" y="2526"/>
                  </a:lnTo>
                  <a:lnTo>
                    <a:pt x="236" y="2492"/>
                  </a:lnTo>
                  <a:lnTo>
                    <a:pt x="270" y="2458"/>
                  </a:lnTo>
                  <a:lnTo>
                    <a:pt x="540" y="2492"/>
                  </a:lnTo>
                  <a:lnTo>
                    <a:pt x="843" y="2492"/>
                  </a:lnTo>
                  <a:lnTo>
                    <a:pt x="1381" y="2458"/>
                  </a:lnTo>
                  <a:lnTo>
                    <a:pt x="1886" y="2458"/>
                  </a:lnTo>
                  <a:lnTo>
                    <a:pt x="2122" y="2425"/>
                  </a:lnTo>
                  <a:lnTo>
                    <a:pt x="2223" y="2357"/>
                  </a:lnTo>
                  <a:lnTo>
                    <a:pt x="2324" y="2290"/>
                  </a:lnTo>
                  <a:lnTo>
                    <a:pt x="2223" y="2223"/>
                  </a:lnTo>
                  <a:lnTo>
                    <a:pt x="2088" y="2155"/>
                  </a:lnTo>
                  <a:lnTo>
                    <a:pt x="1785" y="2155"/>
                  </a:lnTo>
                  <a:lnTo>
                    <a:pt x="1213" y="2189"/>
                  </a:lnTo>
                  <a:lnTo>
                    <a:pt x="742" y="2189"/>
                  </a:lnTo>
                  <a:lnTo>
                    <a:pt x="506" y="2223"/>
                  </a:lnTo>
                  <a:lnTo>
                    <a:pt x="270" y="2256"/>
                  </a:lnTo>
                  <a:lnTo>
                    <a:pt x="236" y="1078"/>
                  </a:lnTo>
                  <a:lnTo>
                    <a:pt x="203" y="741"/>
                  </a:lnTo>
                  <a:lnTo>
                    <a:pt x="135" y="438"/>
                  </a:lnTo>
                  <a:lnTo>
                    <a:pt x="203" y="438"/>
                  </a:lnTo>
                  <a:lnTo>
                    <a:pt x="236" y="405"/>
                  </a:lnTo>
                  <a:lnTo>
                    <a:pt x="270" y="371"/>
                  </a:lnTo>
                  <a:lnTo>
                    <a:pt x="1348" y="337"/>
                  </a:lnTo>
                  <a:lnTo>
                    <a:pt x="1819" y="304"/>
                  </a:lnTo>
                  <a:lnTo>
                    <a:pt x="2055" y="270"/>
                  </a:lnTo>
                  <a:lnTo>
                    <a:pt x="2257" y="236"/>
                  </a:lnTo>
                  <a:lnTo>
                    <a:pt x="2290" y="674"/>
                  </a:lnTo>
                  <a:lnTo>
                    <a:pt x="2324" y="1078"/>
                  </a:lnTo>
                  <a:lnTo>
                    <a:pt x="2290" y="1684"/>
                  </a:lnTo>
                  <a:lnTo>
                    <a:pt x="2290" y="1987"/>
                  </a:lnTo>
                  <a:lnTo>
                    <a:pt x="2324" y="2290"/>
                  </a:lnTo>
                  <a:lnTo>
                    <a:pt x="2358" y="2324"/>
                  </a:lnTo>
                  <a:lnTo>
                    <a:pt x="2391" y="2357"/>
                  </a:lnTo>
                  <a:lnTo>
                    <a:pt x="2459" y="2357"/>
                  </a:lnTo>
                  <a:lnTo>
                    <a:pt x="2492" y="2290"/>
                  </a:lnTo>
                  <a:lnTo>
                    <a:pt x="2526" y="1987"/>
                  </a:lnTo>
                  <a:lnTo>
                    <a:pt x="2560" y="1684"/>
                  </a:lnTo>
                  <a:lnTo>
                    <a:pt x="2526" y="1078"/>
                  </a:lnTo>
                  <a:lnTo>
                    <a:pt x="2492" y="573"/>
                  </a:lnTo>
                  <a:lnTo>
                    <a:pt x="2459" y="304"/>
                  </a:lnTo>
                  <a:lnTo>
                    <a:pt x="2391" y="34"/>
                  </a:lnTo>
                  <a:lnTo>
                    <a:pt x="2358" y="34"/>
                  </a:lnTo>
                  <a:lnTo>
                    <a:pt x="232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4" name="Google Shape;784;p5"/>
            <p:cNvSpPr/>
            <p:nvPr/>
          </p:nvSpPr>
          <p:spPr>
            <a:xfrm>
              <a:off x="712960" y="414316"/>
              <a:ext cx="127546" cy="119175"/>
            </a:xfrm>
            <a:custGeom>
              <a:avLst/>
              <a:gdLst/>
              <a:ahLst/>
              <a:cxnLst/>
              <a:rect l="l" t="t" r="r" b="b"/>
              <a:pathLst>
                <a:path w="2560" h="2392" extrusionOk="0">
                  <a:moveTo>
                    <a:pt x="102" y="1"/>
                  </a:moveTo>
                  <a:lnTo>
                    <a:pt x="68" y="34"/>
                  </a:lnTo>
                  <a:lnTo>
                    <a:pt x="34" y="304"/>
                  </a:lnTo>
                  <a:lnTo>
                    <a:pt x="1" y="539"/>
                  </a:lnTo>
                  <a:lnTo>
                    <a:pt x="1" y="1078"/>
                  </a:lnTo>
                  <a:lnTo>
                    <a:pt x="34" y="1684"/>
                  </a:lnTo>
                  <a:lnTo>
                    <a:pt x="102" y="1987"/>
                  </a:lnTo>
                  <a:lnTo>
                    <a:pt x="169" y="2290"/>
                  </a:lnTo>
                  <a:lnTo>
                    <a:pt x="203" y="2324"/>
                  </a:lnTo>
                  <a:lnTo>
                    <a:pt x="236" y="2358"/>
                  </a:lnTo>
                  <a:lnTo>
                    <a:pt x="304" y="2324"/>
                  </a:lnTo>
                  <a:lnTo>
                    <a:pt x="337" y="2256"/>
                  </a:lnTo>
                  <a:lnTo>
                    <a:pt x="304" y="1953"/>
                  </a:lnTo>
                  <a:lnTo>
                    <a:pt x="304" y="1650"/>
                  </a:lnTo>
                  <a:lnTo>
                    <a:pt x="236" y="1078"/>
                  </a:lnTo>
                  <a:lnTo>
                    <a:pt x="236" y="640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438" y="236"/>
                  </a:lnTo>
                  <a:lnTo>
                    <a:pt x="1145" y="236"/>
                  </a:lnTo>
                  <a:lnTo>
                    <a:pt x="2223" y="169"/>
                  </a:lnTo>
                  <a:lnTo>
                    <a:pt x="2256" y="236"/>
                  </a:lnTo>
                  <a:lnTo>
                    <a:pt x="2324" y="236"/>
                  </a:lnTo>
                  <a:lnTo>
                    <a:pt x="2324" y="539"/>
                  </a:lnTo>
                  <a:lnTo>
                    <a:pt x="2324" y="876"/>
                  </a:lnTo>
                  <a:lnTo>
                    <a:pt x="2357" y="2054"/>
                  </a:lnTo>
                  <a:lnTo>
                    <a:pt x="1886" y="2054"/>
                  </a:lnTo>
                  <a:lnTo>
                    <a:pt x="1415" y="2088"/>
                  </a:lnTo>
                  <a:lnTo>
                    <a:pt x="674" y="2088"/>
                  </a:lnTo>
                  <a:lnTo>
                    <a:pt x="539" y="2122"/>
                  </a:lnTo>
                  <a:lnTo>
                    <a:pt x="438" y="2189"/>
                  </a:lnTo>
                  <a:lnTo>
                    <a:pt x="337" y="2256"/>
                  </a:lnTo>
                  <a:lnTo>
                    <a:pt x="405" y="2324"/>
                  </a:lnTo>
                  <a:lnTo>
                    <a:pt x="539" y="2358"/>
                  </a:lnTo>
                  <a:lnTo>
                    <a:pt x="775" y="2391"/>
                  </a:lnTo>
                  <a:lnTo>
                    <a:pt x="1280" y="2358"/>
                  </a:lnTo>
                  <a:lnTo>
                    <a:pt x="1819" y="2358"/>
                  </a:lnTo>
                  <a:lnTo>
                    <a:pt x="2122" y="2324"/>
                  </a:lnTo>
                  <a:lnTo>
                    <a:pt x="2357" y="2256"/>
                  </a:lnTo>
                  <a:lnTo>
                    <a:pt x="2425" y="2324"/>
                  </a:lnTo>
                  <a:lnTo>
                    <a:pt x="2492" y="2324"/>
                  </a:lnTo>
                  <a:lnTo>
                    <a:pt x="2559" y="2290"/>
                  </a:lnTo>
                  <a:lnTo>
                    <a:pt x="2559" y="2223"/>
                  </a:lnTo>
                  <a:lnTo>
                    <a:pt x="2526" y="1044"/>
                  </a:lnTo>
                  <a:lnTo>
                    <a:pt x="2526" y="539"/>
                  </a:lnTo>
                  <a:lnTo>
                    <a:pt x="2492" y="270"/>
                  </a:lnTo>
                  <a:lnTo>
                    <a:pt x="2425" y="34"/>
                  </a:lnTo>
                  <a:lnTo>
                    <a:pt x="2391" y="34"/>
                  </a:lnTo>
                  <a:lnTo>
                    <a:pt x="2391" y="68"/>
                  </a:lnTo>
                  <a:lnTo>
                    <a:pt x="2357" y="68"/>
                  </a:lnTo>
                  <a:lnTo>
                    <a:pt x="2290" y="34"/>
                  </a:lnTo>
                  <a:lnTo>
                    <a:pt x="2223" y="1"/>
                  </a:lnTo>
                  <a:lnTo>
                    <a:pt x="2021" y="1"/>
                  </a:lnTo>
                  <a:lnTo>
                    <a:pt x="1617" y="34"/>
                  </a:lnTo>
                  <a:lnTo>
                    <a:pt x="910" y="34"/>
                  </a:lnTo>
                  <a:lnTo>
                    <a:pt x="539" y="68"/>
                  </a:lnTo>
                  <a:lnTo>
                    <a:pt x="203" y="102"/>
                  </a:lnTo>
                  <a:lnTo>
                    <a:pt x="169" y="34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5" name="Google Shape;785;p5"/>
            <p:cNvSpPr/>
            <p:nvPr/>
          </p:nvSpPr>
          <p:spPr>
            <a:xfrm>
              <a:off x="1162508" y="122456"/>
              <a:ext cx="127546" cy="120820"/>
            </a:xfrm>
            <a:custGeom>
              <a:avLst/>
              <a:gdLst/>
              <a:ahLst/>
              <a:cxnLst/>
              <a:rect l="l" t="t" r="r" b="b"/>
              <a:pathLst>
                <a:path w="2560" h="2425" extrusionOk="0">
                  <a:moveTo>
                    <a:pt x="2357" y="0"/>
                  </a:moveTo>
                  <a:lnTo>
                    <a:pt x="2357" y="34"/>
                  </a:lnTo>
                  <a:lnTo>
                    <a:pt x="2324" y="135"/>
                  </a:lnTo>
                  <a:lnTo>
                    <a:pt x="1751" y="68"/>
                  </a:lnTo>
                  <a:lnTo>
                    <a:pt x="1179" y="68"/>
                  </a:lnTo>
                  <a:lnTo>
                    <a:pt x="674" y="34"/>
                  </a:lnTo>
                  <a:lnTo>
                    <a:pt x="405" y="68"/>
                  </a:lnTo>
                  <a:lnTo>
                    <a:pt x="304" y="101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371" y="270"/>
                  </a:lnTo>
                  <a:lnTo>
                    <a:pt x="573" y="304"/>
                  </a:lnTo>
                  <a:lnTo>
                    <a:pt x="1011" y="270"/>
                  </a:lnTo>
                  <a:lnTo>
                    <a:pt x="1650" y="304"/>
                  </a:lnTo>
                  <a:lnTo>
                    <a:pt x="2324" y="337"/>
                  </a:lnTo>
                  <a:lnTo>
                    <a:pt x="2290" y="708"/>
                  </a:lnTo>
                  <a:lnTo>
                    <a:pt x="2324" y="1078"/>
                  </a:lnTo>
                  <a:lnTo>
                    <a:pt x="2324" y="1583"/>
                  </a:lnTo>
                  <a:lnTo>
                    <a:pt x="2357" y="1852"/>
                  </a:lnTo>
                  <a:lnTo>
                    <a:pt x="2391" y="2088"/>
                  </a:lnTo>
                  <a:lnTo>
                    <a:pt x="2357" y="2088"/>
                  </a:lnTo>
                  <a:lnTo>
                    <a:pt x="1347" y="2122"/>
                  </a:lnTo>
                  <a:lnTo>
                    <a:pt x="809" y="2155"/>
                  </a:lnTo>
                  <a:lnTo>
                    <a:pt x="539" y="2189"/>
                  </a:lnTo>
                  <a:lnTo>
                    <a:pt x="304" y="2223"/>
                  </a:lnTo>
                  <a:lnTo>
                    <a:pt x="270" y="1718"/>
                  </a:lnTo>
                  <a:lnTo>
                    <a:pt x="236" y="1213"/>
                  </a:lnTo>
                  <a:lnTo>
                    <a:pt x="270" y="708"/>
                  </a:lnTo>
                  <a:lnTo>
                    <a:pt x="236" y="438"/>
                  </a:lnTo>
                  <a:lnTo>
                    <a:pt x="203" y="304"/>
                  </a:lnTo>
                  <a:lnTo>
                    <a:pt x="169" y="169"/>
                  </a:lnTo>
                  <a:lnTo>
                    <a:pt x="135" y="203"/>
                  </a:lnTo>
                  <a:lnTo>
                    <a:pt x="68" y="337"/>
                  </a:lnTo>
                  <a:lnTo>
                    <a:pt x="34" y="506"/>
                  </a:lnTo>
                  <a:lnTo>
                    <a:pt x="1" y="876"/>
                  </a:lnTo>
                  <a:lnTo>
                    <a:pt x="34" y="1583"/>
                  </a:lnTo>
                  <a:lnTo>
                    <a:pt x="34" y="1819"/>
                  </a:lnTo>
                  <a:lnTo>
                    <a:pt x="34" y="2054"/>
                  </a:lnTo>
                  <a:lnTo>
                    <a:pt x="34" y="2189"/>
                  </a:lnTo>
                  <a:lnTo>
                    <a:pt x="102" y="2290"/>
                  </a:lnTo>
                  <a:lnTo>
                    <a:pt x="169" y="2391"/>
                  </a:lnTo>
                  <a:lnTo>
                    <a:pt x="270" y="2425"/>
                  </a:lnTo>
                  <a:lnTo>
                    <a:pt x="304" y="2425"/>
                  </a:lnTo>
                  <a:lnTo>
                    <a:pt x="337" y="2391"/>
                  </a:lnTo>
                  <a:lnTo>
                    <a:pt x="337" y="2357"/>
                  </a:lnTo>
                  <a:lnTo>
                    <a:pt x="573" y="2391"/>
                  </a:lnTo>
                  <a:lnTo>
                    <a:pt x="809" y="2425"/>
                  </a:lnTo>
                  <a:lnTo>
                    <a:pt x="1347" y="2391"/>
                  </a:lnTo>
                  <a:lnTo>
                    <a:pt x="2391" y="2324"/>
                  </a:lnTo>
                  <a:lnTo>
                    <a:pt x="2458" y="2290"/>
                  </a:lnTo>
                  <a:lnTo>
                    <a:pt x="2492" y="2324"/>
                  </a:lnTo>
                  <a:lnTo>
                    <a:pt x="2526" y="2324"/>
                  </a:lnTo>
                  <a:lnTo>
                    <a:pt x="2526" y="2290"/>
                  </a:lnTo>
                  <a:lnTo>
                    <a:pt x="2559" y="2021"/>
                  </a:lnTo>
                  <a:lnTo>
                    <a:pt x="2559" y="1751"/>
                  </a:lnTo>
                  <a:lnTo>
                    <a:pt x="2526" y="1246"/>
                  </a:lnTo>
                  <a:lnTo>
                    <a:pt x="2526" y="640"/>
                  </a:lnTo>
                  <a:lnTo>
                    <a:pt x="2492" y="337"/>
                  </a:lnTo>
                  <a:lnTo>
                    <a:pt x="2458" y="34"/>
                  </a:lnTo>
                  <a:lnTo>
                    <a:pt x="242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6" name="Google Shape;786;p5"/>
            <p:cNvSpPr/>
            <p:nvPr/>
          </p:nvSpPr>
          <p:spPr>
            <a:xfrm>
              <a:off x="1387307" y="296885"/>
              <a:ext cx="35274" cy="42000"/>
            </a:xfrm>
            <a:custGeom>
              <a:avLst/>
              <a:gdLst/>
              <a:ahLst/>
              <a:cxnLst/>
              <a:rect l="l" t="t" r="r" b="b"/>
              <a:pathLst>
                <a:path w="708" h="843" extrusionOk="0">
                  <a:moveTo>
                    <a:pt x="202" y="1"/>
                  </a:moveTo>
                  <a:lnTo>
                    <a:pt x="101" y="35"/>
                  </a:lnTo>
                  <a:lnTo>
                    <a:pt x="68" y="136"/>
                  </a:lnTo>
                  <a:lnTo>
                    <a:pt x="0" y="338"/>
                  </a:lnTo>
                  <a:lnTo>
                    <a:pt x="0" y="573"/>
                  </a:lnTo>
                  <a:lnTo>
                    <a:pt x="0" y="742"/>
                  </a:lnTo>
                  <a:lnTo>
                    <a:pt x="34" y="809"/>
                  </a:lnTo>
                  <a:lnTo>
                    <a:pt x="68" y="843"/>
                  </a:lnTo>
                  <a:lnTo>
                    <a:pt x="101" y="843"/>
                  </a:lnTo>
                  <a:lnTo>
                    <a:pt x="404" y="809"/>
                  </a:lnTo>
                  <a:lnTo>
                    <a:pt x="573" y="775"/>
                  </a:lnTo>
                  <a:lnTo>
                    <a:pt x="707" y="708"/>
                  </a:lnTo>
                  <a:lnTo>
                    <a:pt x="707" y="674"/>
                  </a:lnTo>
                  <a:lnTo>
                    <a:pt x="707" y="641"/>
                  </a:lnTo>
                  <a:lnTo>
                    <a:pt x="674" y="573"/>
                  </a:lnTo>
                  <a:lnTo>
                    <a:pt x="438" y="573"/>
                  </a:lnTo>
                  <a:lnTo>
                    <a:pt x="202" y="607"/>
                  </a:lnTo>
                  <a:lnTo>
                    <a:pt x="236" y="304"/>
                  </a:lnTo>
                  <a:lnTo>
                    <a:pt x="270" y="169"/>
                  </a:lnTo>
                  <a:lnTo>
                    <a:pt x="270" y="68"/>
                  </a:lnTo>
                  <a:lnTo>
                    <a:pt x="23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7" name="Google Shape;787;p5"/>
            <p:cNvSpPr/>
            <p:nvPr/>
          </p:nvSpPr>
          <p:spPr>
            <a:xfrm>
              <a:off x="895809" y="444509"/>
              <a:ext cx="36968" cy="45338"/>
            </a:xfrm>
            <a:custGeom>
              <a:avLst/>
              <a:gdLst/>
              <a:ahLst/>
              <a:cxnLst/>
              <a:rect l="l" t="t" r="r" b="b"/>
              <a:pathLst>
                <a:path w="742" h="910" extrusionOk="0">
                  <a:moveTo>
                    <a:pt x="573" y="169"/>
                  </a:moveTo>
                  <a:lnTo>
                    <a:pt x="539" y="236"/>
                  </a:lnTo>
                  <a:lnTo>
                    <a:pt x="505" y="304"/>
                  </a:lnTo>
                  <a:lnTo>
                    <a:pt x="472" y="304"/>
                  </a:lnTo>
                  <a:lnTo>
                    <a:pt x="371" y="337"/>
                  </a:lnTo>
                  <a:lnTo>
                    <a:pt x="270" y="371"/>
                  </a:lnTo>
                  <a:lnTo>
                    <a:pt x="202" y="169"/>
                  </a:lnTo>
                  <a:close/>
                  <a:moveTo>
                    <a:pt x="539" y="506"/>
                  </a:moveTo>
                  <a:lnTo>
                    <a:pt x="573" y="573"/>
                  </a:lnTo>
                  <a:lnTo>
                    <a:pt x="505" y="674"/>
                  </a:lnTo>
                  <a:lnTo>
                    <a:pt x="472" y="708"/>
                  </a:lnTo>
                  <a:lnTo>
                    <a:pt x="270" y="708"/>
                  </a:lnTo>
                  <a:lnTo>
                    <a:pt x="270" y="539"/>
                  </a:lnTo>
                  <a:lnTo>
                    <a:pt x="303" y="539"/>
                  </a:lnTo>
                  <a:lnTo>
                    <a:pt x="472" y="506"/>
                  </a:lnTo>
                  <a:close/>
                  <a:moveTo>
                    <a:pt x="472" y="1"/>
                  </a:moveTo>
                  <a:lnTo>
                    <a:pt x="270" y="68"/>
                  </a:lnTo>
                  <a:lnTo>
                    <a:pt x="101" y="135"/>
                  </a:lnTo>
                  <a:lnTo>
                    <a:pt x="68" y="169"/>
                  </a:lnTo>
                  <a:lnTo>
                    <a:pt x="68" y="203"/>
                  </a:lnTo>
                  <a:lnTo>
                    <a:pt x="101" y="506"/>
                  </a:lnTo>
                  <a:lnTo>
                    <a:pt x="101" y="674"/>
                  </a:lnTo>
                  <a:lnTo>
                    <a:pt x="34" y="674"/>
                  </a:lnTo>
                  <a:lnTo>
                    <a:pt x="0" y="741"/>
                  </a:lnTo>
                  <a:lnTo>
                    <a:pt x="0" y="809"/>
                  </a:lnTo>
                  <a:lnTo>
                    <a:pt x="68" y="876"/>
                  </a:lnTo>
                  <a:lnTo>
                    <a:pt x="270" y="910"/>
                  </a:lnTo>
                  <a:lnTo>
                    <a:pt x="472" y="910"/>
                  </a:lnTo>
                  <a:lnTo>
                    <a:pt x="573" y="876"/>
                  </a:lnTo>
                  <a:lnTo>
                    <a:pt x="640" y="809"/>
                  </a:lnTo>
                  <a:lnTo>
                    <a:pt x="707" y="741"/>
                  </a:lnTo>
                  <a:lnTo>
                    <a:pt x="741" y="640"/>
                  </a:lnTo>
                  <a:lnTo>
                    <a:pt x="741" y="506"/>
                  </a:lnTo>
                  <a:lnTo>
                    <a:pt x="707" y="438"/>
                  </a:lnTo>
                  <a:lnTo>
                    <a:pt x="674" y="371"/>
                  </a:lnTo>
                  <a:lnTo>
                    <a:pt x="707" y="304"/>
                  </a:lnTo>
                  <a:lnTo>
                    <a:pt x="707" y="169"/>
                  </a:lnTo>
                  <a:lnTo>
                    <a:pt x="707" y="68"/>
                  </a:lnTo>
                  <a:lnTo>
                    <a:pt x="640" y="34"/>
                  </a:lnTo>
                  <a:lnTo>
                    <a:pt x="53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8" name="Google Shape;788;p5"/>
            <p:cNvSpPr/>
            <p:nvPr/>
          </p:nvSpPr>
          <p:spPr>
            <a:xfrm>
              <a:off x="583820" y="419349"/>
              <a:ext cx="115787" cy="119175"/>
            </a:xfrm>
            <a:custGeom>
              <a:avLst/>
              <a:gdLst/>
              <a:ahLst/>
              <a:cxnLst/>
              <a:rect l="l" t="t" r="r" b="b"/>
              <a:pathLst>
                <a:path w="2324" h="2392" extrusionOk="0">
                  <a:moveTo>
                    <a:pt x="1515" y="1"/>
                  </a:moveTo>
                  <a:lnTo>
                    <a:pt x="909" y="34"/>
                  </a:lnTo>
                  <a:lnTo>
                    <a:pt x="202" y="34"/>
                  </a:lnTo>
                  <a:lnTo>
                    <a:pt x="0" y="102"/>
                  </a:lnTo>
                  <a:lnTo>
                    <a:pt x="0" y="135"/>
                  </a:lnTo>
                  <a:lnTo>
                    <a:pt x="68" y="203"/>
                  </a:lnTo>
                  <a:lnTo>
                    <a:pt x="169" y="236"/>
                  </a:lnTo>
                  <a:lnTo>
                    <a:pt x="371" y="270"/>
                  </a:lnTo>
                  <a:lnTo>
                    <a:pt x="1414" y="270"/>
                  </a:lnTo>
                  <a:lnTo>
                    <a:pt x="2020" y="236"/>
                  </a:lnTo>
                  <a:lnTo>
                    <a:pt x="1987" y="438"/>
                  </a:lnTo>
                  <a:lnTo>
                    <a:pt x="2020" y="640"/>
                  </a:lnTo>
                  <a:lnTo>
                    <a:pt x="2054" y="1078"/>
                  </a:lnTo>
                  <a:lnTo>
                    <a:pt x="2054" y="1617"/>
                  </a:lnTo>
                  <a:lnTo>
                    <a:pt x="2054" y="1852"/>
                  </a:lnTo>
                  <a:lnTo>
                    <a:pt x="2088" y="2122"/>
                  </a:lnTo>
                  <a:lnTo>
                    <a:pt x="977" y="2155"/>
                  </a:lnTo>
                  <a:lnTo>
                    <a:pt x="539" y="2155"/>
                  </a:lnTo>
                  <a:lnTo>
                    <a:pt x="371" y="2189"/>
                  </a:lnTo>
                  <a:lnTo>
                    <a:pt x="270" y="2223"/>
                  </a:lnTo>
                  <a:lnTo>
                    <a:pt x="202" y="2290"/>
                  </a:lnTo>
                  <a:lnTo>
                    <a:pt x="270" y="2358"/>
                  </a:lnTo>
                  <a:lnTo>
                    <a:pt x="371" y="2391"/>
                  </a:lnTo>
                  <a:lnTo>
                    <a:pt x="1583" y="2391"/>
                  </a:lnTo>
                  <a:lnTo>
                    <a:pt x="2222" y="2358"/>
                  </a:lnTo>
                  <a:lnTo>
                    <a:pt x="2290" y="2324"/>
                  </a:lnTo>
                  <a:lnTo>
                    <a:pt x="2323" y="2290"/>
                  </a:lnTo>
                  <a:lnTo>
                    <a:pt x="2323" y="2223"/>
                  </a:lnTo>
                  <a:lnTo>
                    <a:pt x="2290" y="2155"/>
                  </a:lnTo>
                  <a:lnTo>
                    <a:pt x="2290" y="1886"/>
                  </a:lnTo>
                  <a:lnTo>
                    <a:pt x="2290" y="1617"/>
                  </a:lnTo>
                  <a:lnTo>
                    <a:pt x="2256" y="1078"/>
                  </a:lnTo>
                  <a:lnTo>
                    <a:pt x="2256" y="607"/>
                  </a:lnTo>
                  <a:lnTo>
                    <a:pt x="2222" y="405"/>
                  </a:lnTo>
                  <a:lnTo>
                    <a:pt x="2189" y="203"/>
                  </a:lnTo>
                  <a:lnTo>
                    <a:pt x="2222" y="135"/>
                  </a:lnTo>
                  <a:lnTo>
                    <a:pt x="2222" y="68"/>
                  </a:lnTo>
                  <a:lnTo>
                    <a:pt x="2189" y="34"/>
                  </a:lnTo>
                  <a:lnTo>
                    <a:pt x="212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89" name="Google Shape;789;p5"/>
            <p:cNvSpPr/>
            <p:nvPr/>
          </p:nvSpPr>
          <p:spPr>
            <a:xfrm>
              <a:off x="761637" y="452929"/>
              <a:ext cx="36918" cy="31886"/>
            </a:xfrm>
            <a:custGeom>
              <a:avLst/>
              <a:gdLst/>
              <a:ahLst/>
              <a:cxnLst/>
              <a:rect l="l" t="t" r="r" b="b"/>
              <a:pathLst>
                <a:path w="741" h="640" extrusionOk="0">
                  <a:moveTo>
                    <a:pt x="67" y="0"/>
                  </a:moveTo>
                  <a:lnTo>
                    <a:pt x="0" y="67"/>
                  </a:lnTo>
                  <a:lnTo>
                    <a:pt x="0" y="135"/>
                  </a:lnTo>
                  <a:lnTo>
                    <a:pt x="34" y="168"/>
                  </a:lnTo>
                  <a:lnTo>
                    <a:pt x="67" y="202"/>
                  </a:lnTo>
                  <a:lnTo>
                    <a:pt x="101" y="303"/>
                  </a:lnTo>
                  <a:lnTo>
                    <a:pt x="135" y="438"/>
                  </a:lnTo>
                  <a:lnTo>
                    <a:pt x="202" y="539"/>
                  </a:lnTo>
                  <a:lnTo>
                    <a:pt x="303" y="640"/>
                  </a:lnTo>
                  <a:lnTo>
                    <a:pt x="438" y="640"/>
                  </a:lnTo>
                  <a:lnTo>
                    <a:pt x="471" y="606"/>
                  </a:lnTo>
                  <a:lnTo>
                    <a:pt x="606" y="337"/>
                  </a:lnTo>
                  <a:lnTo>
                    <a:pt x="707" y="236"/>
                  </a:lnTo>
                  <a:lnTo>
                    <a:pt x="741" y="168"/>
                  </a:lnTo>
                  <a:lnTo>
                    <a:pt x="741" y="101"/>
                  </a:lnTo>
                  <a:lnTo>
                    <a:pt x="741" y="67"/>
                  </a:lnTo>
                  <a:lnTo>
                    <a:pt x="707" y="34"/>
                  </a:lnTo>
                  <a:lnTo>
                    <a:pt x="606" y="67"/>
                  </a:lnTo>
                  <a:lnTo>
                    <a:pt x="505" y="135"/>
                  </a:lnTo>
                  <a:lnTo>
                    <a:pt x="404" y="269"/>
                  </a:lnTo>
                  <a:lnTo>
                    <a:pt x="337" y="370"/>
                  </a:lnTo>
                  <a:lnTo>
                    <a:pt x="269" y="236"/>
                  </a:lnTo>
                  <a:lnTo>
                    <a:pt x="236" y="67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0" name="Google Shape;790;p5"/>
            <p:cNvSpPr/>
            <p:nvPr/>
          </p:nvSpPr>
          <p:spPr>
            <a:xfrm>
              <a:off x="434502" y="422736"/>
              <a:ext cx="127546" cy="120820"/>
            </a:xfrm>
            <a:custGeom>
              <a:avLst/>
              <a:gdLst/>
              <a:ahLst/>
              <a:cxnLst/>
              <a:rect l="l" t="t" r="r" b="b"/>
              <a:pathLst>
                <a:path w="2560" h="2425" extrusionOk="0">
                  <a:moveTo>
                    <a:pt x="2391" y="0"/>
                  </a:moveTo>
                  <a:lnTo>
                    <a:pt x="2358" y="34"/>
                  </a:lnTo>
                  <a:lnTo>
                    <a:pt x="2324" y="135"/>
                  </a:lnTo>
                  <a:lnTo>
                    <a:pt x="1751" y="67"/>
                  </a:lnTo>
                  <a:lnTo>
                    <a:pt x="1179" y="67"/>
                  </a:lnTo>
                  <a:lnTo>
                    <a:pt x="640" y="34"/>
                  </a:lnTo>
                  <a:lnTo>
                    <a:pt x="405" y="67"/>
                  </a:lnTo>
                  <a:lnTo>
                    <a:pt x="270" y="101"/>
                  </a:lnTo>
                  <a:lnTo>
                    <a:pt x="169" y="168"/>
                  </a:lnTo>
                  <a:lnTo>
                    <a:pt x="169" y="202"/>
                  </a:lnTo>
                  <a:lnTo>
                    <a:pt x="371" y="269"/>
                  </a:lnTo>
                  <a:lnTo>
                    <a:pt x="573" y="303"/>
                  </a:lnTo>
                  <a:lnTo>
                    <a:pt x="1011" y="269"/>
                  </a:lnTo>
                  <a:lnTo>
                    <a:pt x="1650" y="303"/>
                  </a:lnTo>
                  <a:lnTo>
                    <a:pt x="2324" y="337"/>
                  </a:lnTo>
                  <a:lnTo>
                    <a:pt x="2290" y="707"/>
                  </a:lnTo>
                  <a:lnTo>
                    <a:pt x="2324" y="1077"/>
                  </a:lnTo>
                  <a:lnTo>
                    <a:pt x="2324" y="1582"/>
                  </a:lnTo>
                  <a:lnTo>
                    <a:pt x="2358" y="1852"/>
                  </a:lnTo>
                  <a:lnTo>
                    <a:pt x="2391" y="2087"/>
                  </a:lnTo>
                  <a:lnTo>
                    <a:pt x="2358" y="2087"/>
                  </a:lnTo>
                  <a:lnTo>
                    <a:pt x="1314" y="2121"/>
                  </a:lnTo>
                  <a:lnTo>
                    <a:pt x="809" y="2155"/>
                  </a:lnTo>
                  <a:lnTo>
                    <a:pt x="539" y="2189"/>
                  </a:lnTo>
                  <a:lnTo>
                    <a:pt x="304" y="2256"/>
                  </a:lnTo>
                  <a:lnTo>
                    <a:pt x="270" y="1751"/>
                  </a:lnTo>
                  <a:lnTo>
                    <a:pt x="236" y="1246"/>
                  </a:lnTo>
                  <a:lnTo>
                    <a:pt x="270" y="707"/>
                  </a:lnTo>
                  <a:lnTo>
                    <a:pt x="236" y="438"/>
                  </a:lnTo>
                  <a:lnTo>
                    <a:pt x="203" y="303"/>
                  </a:lnTo>
                  <a:lnTo>
                    <a:pt x="169" y="202"/>
                  </a:lnTo>
                  <a:lnTo>
                    <a:pt x="135" y="202"/>
                  </a:lnTo>
                  <a:lnTo>
                    <a:pt x="68" y="337"/>
                  </a:lnTo>
                  <a:lnTo>
                    <a:pt x="34" y="505"/>
                  </a:lnTo>
                  <a:lnTo>
                    <a:pt x="1" y="875"/>
                  </a:lnTo>
                  <a:lnTo>
                    <a:pt x="34" y="1582"/>
                  </a:lnTo>
                  <a:lnTo>
                    <a:pt x="34" y="1818"/>
                  </a:lnTo>
                  <a:lnTo>
                    <a:pt x="34" y="2054"/>
                  </a:lnTo>
                  <a:lnTo>
                    <a:pt x="34" y="2189"/>
                  </a:lnTo>
                  <a:lnTo>
                    <a:pt x="102" y="2290"/>
                  </a:lnTo>
                  <a:lnTo>
                    <a:pt x="169" y="2391"/>
                  </a:lnTo>
                  <a:lnTo>
                    <a:pt x="270" y="2424"/>
                  </a:lnTo>
                  <a:lnTo>
                    <a:pt x="304" y="2424"/>
                  </a:lnTo>
                  <a:lnTo>
                    <a:pt x="337" y="2391"/>
                  </a:lnTo>
                  <a:lnTo>
                    <a:pt x="337" y="2357"/>
                  </a:lnTo>
                  <a:lnTo>
                    <a:pt x="573" y="2391"/>
                  </a:lnTo>
                  <a:lnTo>
                    <a:pt x="809" y="2424"/>
                  </a:lnTo>
                  <a:lnTo>
                    <a:pt x="1347" y="2391"/>
                  </a:lnTo>
                  <a:lnTo>
                    <a:pt x="2391" y="2323"/>
                  </a:lnTo>
                  <a:lnTo>
                    <a:pt x="2459" y="2290"/>
                  </a:lnTo>
                  <a:lnTo>
                    <a:pt x="2492" y="2323"/>
                  </a:lnTo>
                  <a:lnTo>
                    <a:pt x="2526" y="2323"/>
                  </a:lnTo>
                  <a:lnTo>
                    <a:pt x="2526" y="2290"/>
                  </a:lnTo>
                  <a:lnTo>
                    <a:pt x="2560" y="2020"/>
                  </a:lnTo>
                  <a:lnTo>
                    <a:pt x="2560" y="1784"/>
                  </a:lnTo>
                  <a:lnTo>
                    <a:pt x="2526" y="1246"/>
                  </a:lnTo>
                  <a:lnTo>
                    <a:pt x="2526" y="640"/>
                  </a:lnTo>
                  <a:lnTo>
                    <a:pt x="2492" y="337"/>
                  </a:lnTo>
                  <a:lnTo>
                    <a:pt x="2459" y="34"/>
                  </a:lnTo>
                  <a:lnTo>
                    <a:pt x="242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1" name="Google Shape;791;p5"/>
            <p:cNvSpPr/>
            <p:nvPr/>
          </p:nvSpPr>
          <p:spPr>
            <a:xfrm>
              <a:off x="624077" y="461299"/>
              <a:ext cx="30242" cy="30242"/>
            </a:xfrm>
            <a:custGeom>
              <a:avLst/>
              <a:gdLst/>
              <a:ahLst/>
              <a:cxnLst/>
              <a:rect l="l" t="t" r="r" b="b"/>
              <a:pathLst>
                <a:path w="607" h="607" extrusionOk="0">
                  <a:moveTo>
                    <a:pt x="236" y="0"/>
                  </a:moveTo>
                  <a:lnTo>
                    <a:pt x="135" y="68"/>
                  </a:lnTo>
                  <a:lnTo>
                    <a:pt x="68" y="135"/>
                  </a:lnTo>
                  <a:lnTo>
                    <a:pt x="0" y="202"/>
                  </a:lnTo>
                  <a:lnTo>
                    <a:pt x="0" y="303"/>
                  </a:lnTo>
                  <a:lnTo>
                    <a:pt x="0" y="404"/>
                  </a:lnTo>
                  <a:lnTo>
                    <a:pt x="68" y="505"/>
                  </a:lnTo>
                  <a:lnTo>
                    <a:pt x="135" y="573"/>
                  </a:lnTo>
                  <a:lnTo>
                    <a:pt x="236" y="606"/>
                  </a:lnTo>
                  <a:lnTo>
                    <a:pt x="371" y="606"/>
                  </a:lnTo>
                  <a:lnTo>
                    <a:pt x="438" y="573"/>
                  </a:lnTo>
                  <a:lnTo>
                    <a:pt x="539" y="539"/>
                  </a:lnTo>
                  <a:lnTo>
                    <a:pt x="573" y="438"/>
                  </a:lnTo>
                  <a:lnTo>
                    <a:pt x="539" y="404"/>
                  </a:lnTo>
                  <a:lnTo>
                    <a:pt x="505" y="371"/>
                  </a:lnTo>
                  <a:lnTo>
                    <a:pt x="438" y="337"/>
                  </a:lnTo>
                  <a:lnTo>
                    <a:pt x="371" y="371"/>
                  </a:lnTo>
                  <a:lnTo>
                    <a:pt x="303" y="404"/>
                  </a:lnTo>
                  <a:lnTo>
                    <a:pt x="202" y="371"/>
                  </a:lnTo>
                  <a:lnTo>
                    <a:pt x="202" y="337"/>
                  </a:lnTo>
                  <a:lnTo>
                    <a:pt x="202" y="303"/>
                  </a:lnTo>
                  <a:lnTo>
                    <a:pt x="202" y="236"/>
                  </a:lnTo>
                  <a:lnTo>
                    <a:pt x="236" y="202"/>
                  </a:lnTo>
                  <a:lnTo>
                    <a:pt x="337" y="169"/>
                  </a:lnTo>
                  <a:lnTo>
                    <a:pt x="472" y="169"/>
                  </a:lnTo>
                  <a:lnTo>
                    <a:pt x="606" y="135"/>
                  </a:lnTo>
                  <a:lnTo>
                    <a:pt x="606" y="101"/>
                  </a:lnTo>
                  <a:lnTo>
                    <a:pt x="606" y="68"/>
                  </a:lnTo>
                  <a:lnTo>
                    <a:pt x="53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2" name="Google Shape;792;p5"/>
            <p:cNvSpPr/>
            <p:nvPr/>
          </p:nvSpPr>
          <p:spPr>
            <a:xfrm>
              <a:off x="1476191" y="246564"/>
              <a:ext cx="110755" cy="122514"/>
            </a:xfrm>
            <a:custGeom>
              <a:avLst/>
              <a:gdLst/>
              <a:ahLst/>
              <a:cxnLst/>
              <a:rect l="l" t="t" r="r" b="b"/>
              <a:pathLst>
                <a:path w="2223" h="2459" extrusionOk="0">
                  <a:moveTo>
                    <a:pt x="1751" y="1"/>
                  </a:moveTo>
                  <a:lnTo>
                    <a:pt x="1280" y="68"/>
                  </a:lnTo>
                  <a:lnTo>
                    <a:pt x="674" y="68"/>
                  </a:lnTo>
                  <a:lnTo>
                    <a:pt x="68" y="102"/>
                  </a:lnTo>
                  <a:lnTo>
                    <a:pt x="1" y="136"/>
                  </a:lnTo>
                  <a:lnTo>
                    <a:pt x="1" y="203"/>
                  </a:lnTo>
                  <a:lnTo>
                    <a:pt x="1" y="237"/>
                  </a:lnTo>
                  <a:lnTo>
                    <a:pt x="34" y="304"/>
                  </a:lnTo>
                  <a:lnTo>
                    <a:pt x="1" y="506"/>
                  </a:lnTo>
                  <a:lnTo>
                    <a:pt x="1" y="742"/>
                  </a:lnTo>
                  <a:lnTo>
                    <a:pt x="34" y="1179"/>
                  </a:lnTo>
                  <a:lnTo>
                    <a:pt x="34" y="1718"/>
                  </a:lnTo>
                  <a:lnTo>
                    <a:pt x="34" y="2021"/>
                  </a:lnTo>
                  <a:lnTo>
                    <a:pt x="68" y="2290"/>
                  </a:lnTo>
                  <a:lnTo>
                    <a:pt x="68" y="2324"/>
                  </a:lnTo>
                  <a:lnTo>
                    <a:pt x="68" y="2391"/>
                  </a:lnTo>
                  <a:lnTo>
                    <a:pt x="102" y="2459"/>
                  </a:lnTo>
                  <a:lnTo>
                    <a:pt x="169" y="2459"/>
                  </a:lnTo>
                  <a:lnTo>
                    <a:pt x="809" y="2425"/>
                  </a:lnTo>
                  <a:lnTo>
                    <a:pt x="1415" y="2391"/>
                  </a:lnTo>
                  <a:lnTo>
                    <a:pt x="1819" y="2391"/>
                  </a:lnTo>
                  <a:lnTo>
                    <a:pt x="2021" y="2324"/>
                  </a:lnTo>
                  <a:lnTo>
                    <a:pt x="2122" y="2290"/>
                  </a:lnTo>
                  <a:lnTo>
                    <a:pt x="2189" y="2223"/>
                  </a:lnTo>
                  <a:lnTo>
                    <a:pt x="2088" y="2156"/>
                  </a:lnTo>
                  <a:lnTo>
                    <a:pt x="2021" y="2122"/>
                  </a:lnTo>
                  <a:lnTo>
                    <a:pt x="1819" y="2122"/>
                  </a:lnTo>
                  <a:lnTo>
                    <a:pt x="1415" y="2156"/>
                  </a:lnTo>
                  <a:lnTo>
                    <a:pt x="270" y="2223"/>
                  </a:lnTo>
                  <a:lnTo>
                    <a:pt x="270" y="1954"/>
                  </a:lnTo>
                  <a:lnTo>
                    <a:pt x="270" y="1684"/>
                  </a:lnTo>
                  <a:lnTo>
                    <a:pt x="236" y="1179"/>
                  </a:lnTo>
                  <a:lnTo>
                    <a:pt x="236" y="742"/>
                  </a:lnTo>
                  <a:lnTo>
                    <a:pt x="236" y="540"/>
                  </a:lnTo>
                  <a:lnTo>
                    <a:pt x="203" y="304"/>
                  </a:lnTo>
                  <a:lnTo>
                    <a:pt x="809" y="304"/>
                  </a:lnTo>
                  <a:lnTo>
                    <a:pt x="1448" y="270"/>
                  </a:lnTo>
                  <a:lnTo>
                    <a:pt x="1852" y="237"/>
                  </a:lnTo>
                  <a:lnTo>
                    <a:pt x="2054" y="169"/>
                  </a:lnTo>
                  <a:lnTo>
                    <a:pt x="2122" y="136"/>
                  </a:lnTo>
                  <a:lnTo>
                    <a:pt x="2223" y="68"/>
                  </a:lnTo>
                  <a:lnTo>
                    <a:pt x="2223" y="35"/>
                  </a:lnTo>
                  <a:lnTo>
                    <a:pt x="198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3" name="Google Shape;793;p5"/>
            <p:cNvSpPr/>
            <p:nvPr/>
          </p:nvSpPr>
          <p:spPr>
            <a:xfrm>
              <a:off x="1856984" y="93958"/>
              <a:ext cx="135916" cy="253347"/>
            </a:xfrm>
            <a:custGeom>
              <a:avLst/>
              <a:gdLst/>
              <a:ahLst/>
              <a:cxnLst/>
              <a:rect l="l" t="t" r="r" b="b"/>
              <a:pathLst>
                <a:path w="2728" h="5085" extrusionOk="0">
                  <a:moveTo>
                    <a:pt x="2391" y="202"/>
                  </a:moveTo>
                  <a:lnTo>
                    <a:pt x="2357" y="471"/>
                  </a:lnTo>
                  <a:lnTo>
                    <a:pt x="2323" y="741"/>
                  </a:lnTo>
                  <a:lnTo>
                    <a:pt x="2357" y="1313"/>
                  </a:lnTo>
                  <a:lnTo>
                    <a:pt x="2391" y="1886"/>
                  </a:lnTo>
                  <a:lnTo>
                    <a:pt x="2424" y="2424"/>
                  </a:lnTo>
                  <a:lnTo>
                    <a:pt x="2458" y="3636"/>
                  </a:lnTo>
                  <a:lnTo>
                    <a:pt x="2424" y="4848"/>
                  </a:lnTo>
                  <a:lnTo>
                    <a:pt x="1785" y="4848"/>
                  </a:lnTo>
                  <a:lnTo>
                    <a:pt x="1448" y="4815"/>
                  </a:lnTo>
                  <a:lnTo>
                    <a:pt x="1280" y="4848"/>
                  </a:lnTo>
                  <a:lnTo>
                    <a:pt x="1111" y="4882"/>
                  </a:lnTo>
                  <a:lnTo>
                    <a:pt x="1111" y="4242"/>
                  </a:lnTo>
                  <a:lnTo>
                    <a:pt x="1078" y="3636"/>
                  </a:lnTo>
                  <a:lnTo>
                    <a:pt x="943" y="2391"/>
                  </a:lnTo>
                  <a:lnTo>
                    <a:pt x="977" y="2323"/>
                  </a:lnTo>
                  <a:lnTo>
                    <a:pt x="977" y="2256"/>
                  </a:lnTo>
                  <a:lnTo>
                    <a:pt x="943" y="2222"/>
                  </a:lnTo>
                  <a:lnTo>
                    <a:pt x="842" y="2189"/>
                  </a:lnTo>
                  <a:lnTo>
                    <a:pt x="337" y="2323"/>
                  </a:lnTo>
                  <a:lnTo>
                    <a:pt x="303" y="1751"/>
                  </a:lnTo>
                  <a:lnTo>
                    <a:pt x="236" y="1212"/>
                  </a:lnTo>
                  <a:lnTo>
                    <a:pt x="236" y="741"/>
                  </a:lnTo>
                  <a:lnTo>
                    <a:pt x="202" y="505"/>
                  </a:lnTo>
                  <a:lnTo>
                    <a:pt x="169" y="269"/>
                  </a:lnTo>
                  <a:lnTo>
                    <a:pt x="741" y="303"/>
                  </a:lnTo>
                  <a:lnTo>
                    <a:pt x="1280" y="269"/>
                  </a:lnTo>
                  <a:lnTo>
                    <a:pt x="2391" y="202"/>
                  </a:lnTo>
                  <a:close/>
                  <a:moveTo>
                    <a:pt x="2391" y="0"/>
                  </a:moveTo>
                  <a:lnTo>
                    <a:pt x="1280" y="34"/>
                  </a:lnTo>
                  <a:lnTo>
                    <a:pt x="707" y="67"/>
                  </a:lnTo>
                  <a:lnTo>
                    <a:pt x="169" y="135"/>
                  </a:lnTo>
                  <a:lnTo>
                    <a:pt x="135" y="168"/>
                  </a:lnTo>
                  <a:lnTo>
                    <a:pt x="101" y="168"/>
                  </a:lnTo>
                  <a:lnTo>
                    <a:pt x="68" y="202"/>
                  </a:lnTo>
                  <a:lnTo>
                    <a:pt x="0" y="438"/>
                  </a:lnTo>
                  <a:lnTo>
                    <a:pt x="0" y="707"/>
                  </a:lnTo>
                  <a:lnTo>
                    <a:pt x="0" y="1212"/>
                  </a:lnTo>
                  <a:lnTo>
                    <a:pt x="34" y="1818"/>
                  </a:lnTo>
                  <a:lnTo>
                    <a:pt x="68" y="2121"/>
                  </a:lnTo>
                  <a:lnTo>
                    <a:pt x="135" y="2424"/>
                  </a:lnTo>
                  <a:lnTo>
                    <a:pt x="135" y="2458"/>
                  </a:lnTo>
                  <a:lnTo>
                    <a:pt x="202" y="2492"/>
                  </a:lnTo>
                  <a:lnTo>
                    <a:pt x="303" y="2492"/>
                  </a:lnTo>
                  <a:lnTo>
                    <a:pt x="808" y="2424"/>
                  </a:lnTo>
                  <a:lnTo>
                    <a:pt x="842" y="3704"/>
                  </a:lnTo>
                  <a:lnTo>
                    <a:pt x="876" y="4377"/>
                  </a:lnTo>
                  <a:lnTo>
                    <a:pt x="943" y="5017"/>
                  </a:lnTo>
                  <a:lnTo>
                    <a:pt x="977" y="5050"/>
                  </a:lnTo>
                  <a:lnTo>
                    <a:pt x="1044" y="5084"/>
                  </a:lnTo>
                  <a:lnTo>
                    <a:pt x="1078" y="5050"/>
                  </a:lnTo>
                  <a:lnTo>
                    <a:pt x="1111" y="4983"/>
                  </a:lnTo>
                  <a:lnTo>
                    <a:pt x="1246" y="5017"/>
                  </a:lnTo>
                  <a:lnTo>
                    <a:pt x="1381" y="5050"/>
                  </a:lnTo>
                  <a:lnTo>
                    <a:pt x="1684" y="5050"/>
                  </a:lnTo>
                  <a:lnTo>
                    <a:pt x="2088" y="5084"/>
                  </a:lnTo>
                  <a:lnTo>
                    <a:pt x="2458" y="5050"/>
                  </a:lnTo>
                  <a:lnTo>
                    <a:pt x="2559" y="5084"/>
                  </a:lnTo>
                  <a:lnTo>
                    <a:pt x="2626" y="5050"/>
                  </a:lnTo>
                  <a:lnTo>
                    <a:pt x="2694" y="5017"/>
                  </a:lnTo>
                  <a:lnTo>
                    <a:pt x="2727" y="4949"/>
                  </a:lnTo>
                  <a:lnTo>
                    <a:pt x="2727" y="4882"/>
                  </a:lnTo>
                  <a:lnTo>
                    <a:pt x="2660" y="4848"/>
                  </a:lnTo>
                  <a:lnTo>
                    <a:pt x="2660" y="3636"/>
                  </a:lnTo>
                  <a:lnTo>
                    <a:pt x="2626" y="2424"/>
                  </a:lnTo>
                  <a:lnTo>
                    <a:pt x="2626" y="1280"/>
                  </a:lnTo>
                  <a:lnTo>
                    <a:pt x="2593" y="707"/>
                  </a:lnTo>
                  <a:lnTo>
                    <a:pt x="2525" y="438"/>
                  </a:lnTo>
                  <a:lnTo>
                    <a:pt x="2458" y="168"/>
                  </a:lnTo>
                  <a:lnTo>
                    <a:pt x="2458" y="101"/>
                  </a:lnTo>
                  <a:lnTo>
                    <a:pt x="2458" y="67"/>
                  </a:lnTo>
                  <a:lnTo>
                    <a:pt x="24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4" name="Google Shape;794;p5"/>
            <p:cNvSpPr/>
            <p:nvPr/>
          </p:nvSpPr>
          <p:spPr>
            <a:xfrm>
              <a:off x="1756343" y="234856"/>
              <a:ext cx="122464" cy="120820"/>
            </a:xfrm>
            <a:custGeom>
              <a:avLst/>
              <a:gdLst/>
              <a:ahLst/>
              <a:cxnLst/>
              <a:rect l="l" t="t" r="r" b="b"/>
              <a:pathLst>
                <a:path w="2458" h="2425" extrusionOk="0">
                  <a:moveTo>
                    <a:pt x="2256" y="202"/>
                  </a:moveTo>
                  <a:lnTo>
                    <a:pt x="2222" y="640"/>
                  </a:lnTo>
                  <a:lnTo>
                    <a:pt x="2222" y="1078"/>
                  </a:lnTo>
                  <a:lnTo>
                    <a:pt x="2222" y="1616"/>
                  </a:lnTo>
                  <a:lnTo>
                    <a:pt x="2189" y="2155"/>
                  </a:lnTo>
                  <a:lnTo>
                    <a:pt x="1919" y="2121"/>
                  </a:lnTo>
                  <a:lnTo>
                    <a:pt x="1650" y="2088"/>
                  </a:lnTo>
                  <a:lnTo>
                    <a:pt x="1111" y="2121"/>
                  </a:lnTo>
                  <a:lnTo>
                    <a:pt x="674" y="2155"/>
                  </a:lnTo>
                  <a:lnTo>
                    <a:pt x="472" y="2155"/>
                  </a:lnTo>
                  <a:lnTo>
                    <a:pt x="270" y="2222"/>
                  </a:lnTo>
                  <a:lnTo>
                    <a:pt x="236" y="1684"/>
                  </a:lnTo>
                  <a:lnTo>
                    <a:pt x="202" y="1179"/>
                  </a:lnTo>
                  <a:lnTo>
                    <a:pt x="202" y="741"/>
                  </a:lnTo>
                  <a:lnTo>
                    <a:pt x="169" y="303"/>
                  </a:lnTo>
                  <a:lnTo>
                    <a:pt x="1212" y="270"/>
                  </a:lnTo>
                  <a:lnTo>
                    <a:pt x="1751" y="236"/>
                  </a:lnTo>
                  <a:lnTo>
                    <a:pt x="2256" y="202"/>
                  </a:lnTo>
                  <a:close/>
                  <a:moveTo>
                    <a:pt x="1751" y="0"/>
                  </a:moveTo>
                  <a:lnTo>
                    <a:pt x="1212" y="34"/>
                  </a:lnTo>
                  <a:lnTo>
                    <a:pt x="169" y="101"/>
                  </a:lnTo>
                  <a:lnTo>
                    <a:pt x="101" y="101"/>
                  </a:lnTo>
                  <a:lnTo>
                    <a:pt x="67" y="135"/>
                  </a:lnTo>
                  <a:lnTo>
                    <a:pt x="34" y="169"/>
                  </a:lnTo>
                  <a:lnTo>
                    <a:pt x="0" y="472"/>
                  </a:lnTo>
                  <a:lnTo>
                    <a:pt x="0" y="741"/>
                  </a:lnTo>
                  <a:lnTo>
                    <a:pt x="0" y="1347"/>
                  </a:lnTo>
                  <a:lnTo>
                    <a:pt x="34" y="1852"/>
                  </a:lnTo>
                  <a:lnTo>
                    <a:pt x="34" y="2121"/>
                  </a:lnTo>
                  <a:lnTo>
                    <a:pt x="101" y="2357"/>
                  </a:lnTo>
                  <a:lnTo>
                    <a:pt x="101" y="2391"/>
                  </a:lnTo>
                  <a:lnTo>
                    <a:pt x="169" y="2424"/>
                  </a:lnTo>
                  <a:lnTo>
                    <a:pt x="202" y="2424"/>
                  </a:lnTo>
                  <a:lnTo>
                    <a:pt x="236" y="2391"/>
                  </a:lnTo>
                  <a:lnTo>
                    <a:pt x="741" y="2391"/>
                  </a:lnTo>
                  <a:lnTo>
                    <a:pt x="1280" y="2357"/>
                  </a:lnTo>
                  <a:lnTo>
                    <a:pt x="1751" y="2357"/>
                  </a:lnTo>
                  <a:lnTo>
                    <a:pt x="1987" y="2323"/>
                  </a:lnTo>
                  <a:lnTo>
                    <a:pt x="2222" y="2290"/>
                  </a:lnTo>
                  <a:lnTo>
                    <a:pt x="2323" y="2290"/>
                  </a:lnTo>
                  <a:lnTo>
                    <a:pt x="2357" y="2256"/>
                  </a:lnTo>
                  <a:lnTo>
                    <a:pt x="2357" y="2222"/>
                  </a:lnTo>
                  <a:lnTo>
                    <a:pt x="2424" y="1953"/>
                  </a:lnTo>
                  <a:lnTo>
                    <a:pt x="2458" y="1650"/>
                  </a:lnTo>
                  <a:lnTo>
                    <a:pt x="2458" y="1044"/>
                  </a:lnTo>
                  <a:lnTo>
                    <a:pt x="2424" y="573"/>
                  </a:lnTo>
                  <a:lnTo>
                    <a:pt x="2424" y="337"/>
                  </a:lnTo>
                  <a:lnTo>
                    <a:pt x="2357" y="101"/>
                  </a:lnTo>
                  <a:lnTo>
                    <a:pt x="2323" y="34"/>
                  </a:lnTo>
                  <a:lnTo>
                    <a:pt x="22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5" name="Google Shape;795;p5"/>
            <p:cNvSpPr/>
            <p:nvPr/>
          </p:nvSpPr>
          <p:spPr>
            <a:xfrm>
              <a:off x="1640605" y="-7"/>
              <a:ext cx="129190" cy="88983"/>
            </a:xfrm>
            <a:custGeom>
              <a:avLst/>
              <a:gdLst/>
              <a:ahLst/>
              <a:cxnLst/>
              <a:rect l="l" t="t" r="r" b="b"/>
              <a:pathLst>
                <a:path w="2593" h="1786" extrusionOk="0">
                  <a:moveTo>
                    <a:pt x="34" y="1"/>
                  </a:moveTo>
                  <a:lnTo>
                    <a:pt x="0" y="236"/>
                  </a:lnTo>
                  <a:lnTo>
                    <a:pt x="34" y="472"/>
                  </a:lnTo>
                  <a:lnTo>
                    <a:pt x="34" y="943"/>
                  </a:lnTo>
                  <a:lnTo>
                    <a:pt x="34" y="1145"/>
                  </a:lnTo>
                  <a:lnTo>
                    <a:pt x="34" y="1415"/>
                  </a:lnTo>
                  <a:lnTo>
                    <a:pt x="67" y="1516"/>
                  </a:lnTo>
                  <a:lnTo>
                    <a:pt x="101" y="1650"/>
                  </a:lnTo>
                  <a:lnTo>
                    <a:pt x="168" y="1718"/>
                  </a:lnTo>
                  <a:lnTo>
                    <a:pt x="269" y="1785"/>
                  </a:lnTo>
                  <a:lnTo>
                    <a:pt x="303" y="1751"/>
                  </a:lnTo>
                  <a:lnTo>
                    <a:pt x="337" y="1718"/>
                  </a:lnTo>
                  <a:lnTo>
                    <a:pt x="572" y="1751"/>
                  </a:lnTo>
                  <a:lnTo>
                    <a:pt x="1347" y="1751"/>
                  </a:lnTo>
                  <a:lnTo>
                    <a:pt x="2390" y="1650"/>
                  </a:lnTo>
                  <a:lnTo>
                    <a:pt x="2525" y="1650"/>
                  </a:lnTo>
                  <a:lnTo>
                    <a:pt x="2559" y="1617"/>
                  </a:lnTo>
                  <a:lnTo>
                    <a:pt x="2593" y="1381"/>
                  </a:lnTo>
                  <a:lnTo>
                    <a:pt x="2559" y="1112"/>
                  </a:lnTo>
                  <a:lnTo>
                    <a:pt x="2525" y="607"/>
                  </a:lnTo>
                  <a:lnTo>
                    <a:pt x="2525" y="1"/>
                  </a:lnTo>
                  <a:lnTo>
                    <a:pt x="2323" y="1"/>
                  </a:lnTo>
                  <a:lnTo>
                    <a:pt x="2323" y="438"/>
                  </a:lnTo>
                  <a:lnTo>
                    <a:pt x="2323" y="943"/>
                  </a:lnTo>
                  <a:lnTo>
                    <a:pt x="2357" y="1179"/>
                  </a:lnTo>
                  <a:lnTo>
                    <a:pt x="2390" y="1448"/>
                  </a:lnTo>
                  <a:lnTo>
                    <a:pt x="1347" y="1448"/>
                  </a:lnTo>
                  <a:lnTo>
                    <a:pt x="808" y="1482"/>
                  </a:lnTo>
                  <a:lnTo>
                    <a:pt x="572" y="1516"/>
                  </a:lnTo>
                  <a:lnTo>
                    <a:pt x="303" y="1583"/>
                  </a:lnTo>
                  <a:lnTo>
                    <a:pt x="269" y="1078"/>
                  </a:lnTo>
                  <a:lnTo>
                    <a:pt x="236" y="573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6" name="Google Shape;796;p5"/>
            <p:cNvSpPr/>
            <p:nvPr/>
          </p:nvSpPr>
          <p:spPr>
            <a:xfrm>
              <a:off x="1910643" y="162713"/>
              <a:ext cx="52065" cy="45338"/>
            </a:xfrm>
            <a:custGeom>
              <a:avLst/>
              <a:gdLst/>
              <a:ahLst/>
              <a:cxnLst/>
              <a:rect l="l" t="t" r="r" b="b"/>
              <a:pathLst>
                <a:path w="1045" h="910" extrusionOk="0">
                  <a:moveTo>
                    <a:pt x="876" y="1"/>
                  </a:moveTo>
                  <a:lnTo>
                    <a:pt x="842" y="34"/>
                  </a:lnTo>
                  <a:lnTo>
                    <a:pt x="842" y="102"/>
                  </a:lnTo>
                  <a:lnTo>
                    <a:pt x="842" y="236"/>
                  </a:lnTo>
                  <a:lnTo>
                    <a:pt x="809" y="337"/>
                  </a:lnTo>
                  <a:lnTo>
                    <a:pt x="741" y="405"/>
                  </a:lnTo>
                  <a:lnTo>
                    <a:pt x="607" y="472"/>
                  </a:lnTo>
                  <a:lnTo>
                    <a:pt x="371" y="472"/>
                  </a:lnTo>
                  <a:lnTo>
                    <a:pt x="371" y="405"/>
                  </a:lnTo>
                  <a:lnTo>
                    <a:pt x="371" y="337"/>
                  </a:lnTo>
                  <a:lnTo>
                    <a:pt x="405" y="270"/>
                  </a:lnTo>
                  <a:lnTo>
                    <a:pt x="405" y="236"/>
                  </a:lnTo>
                  <a:lnTo>
                    <a:pt x="371" y="203"/>
                  </a:lnTo>
                  <a:lnTo>
                    <a:pt x="337" y="236"/>
                  </a:lnTo>
                  <a:lnTo>
                    <a:pt x="203" y="304"/>
                  </a:lnTo>
                  <a:lnTo>
                    <a:pt x="68" y="371"/>
                  </a:lnTo>
                  <a:lnTo>
                    <a:pt x="1" y="405"/>
                  </a:lnTo>
                  <a:lnTo>
                    <a:pt x="1" y="472"/>
                  </a:lnTo>
                  <a:lnTo>
                    <a:pt x="169" y="842"/>
                  </a:lnTo>
                  <a:lnTo>
                    <a:pt x="203" y="876"/>
                  </a:lnTo>
                  <a:lnTo>
                    <a:pt x="270" y="910"/>
                  </a:lnTo>
                  <a:lnTo>
                    <a:pt x="337" y="876"/>
                  </a:lnTo>
                  <a:lnTo>
                    <a:pt x="371" y="876"/>
                  </a:lnTo>
                  <a:lnTo>
                    <a:pt x="371" y="809"/>
                  </a:lnTo>
                  <a:lnTo>
                    <a:pt x="371" y="674"/>
                  </a:lnTo>
                  <a:lnTo>
                    <a:pt x="607" y="674"/>
                  </a:lnTo>
                  <a:lnTo>
                    <a:pt x="775" y="607"/>
                  </a:lnTo>
                  <a:lnTo>
                    <a:pt x="910" y="506"/>
                  </a:lnTo>
                  <a:lnTo>
                    <a:pt x="1011" y="371"/>
                  </a:lnTo>
                  <a:lnTo>
                    <a:pt x="1044" y="203"/>
                  </a:lnTo>
                  <a:lnTo>
                    <a:pt x="1011" y="34"/>
                  </a:lnTo>
                  <a:lnTo>
                    <a:pt x="97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7" name="Google Shape;797;p5"/>
            <p:cNvSpPr/>
            <p:nvPr/>
          </p:nvSpPr>
          <p:spPr>
            <a:xfrm>
              <a:off x="1721118" y="100634"/>
              <a:ext cx="125852" cy="119175"/>
            </a:xfrm>
            <a:custGeom>
              <a:avLst/>
              <a:gdLst/>
              <a:ahLst/>
              <a:cxnLst/>
              <a:rect l="l" t="t" r="r" b="b"/>
              <a:pathLst>
                <a:path w="2526" h="2392" extrusionOk="0">
                  <a:moveTo>
                    <a:pt x="2256" y="236"/>
                  </a:moveTo>
                  <a:lnTo>
                    <a:pt x="2256" y="674"/>
                  </a:lnTo>
                  <a:lnTo>
                    <a:pt x="2290" y="1078"/>
                  </a:lnTo>
                  <a:lnTo>
                    <a:pt x="2290" y="1617"/>
                  </a:lnTo>
                  <a:lnTo>
                    <a:pt x="2323" y="2122"/>
                  </a:lnTo>
                  <a:lnTo>
                    <a:pt x="2121" y="2088"/>
                  </a:lnTo>
                  <a:lnTo>
                    <a:pt x="1886" y="2088"/>
                  </a:lnTo>
                  <a:lnTo>
                    <a:pt x="1448" y="2122"/>
                  </a:lnTo>
                  <a:lnTo>
                    <a:pt x="909" y="2122"/>
                  </a:lnTo>
                  <a:lnTo>
                    <a:pt x="640" y="2156"/>
                  </a:lnTo>
                  <a:lnTo>
                    <a:pt x="370" y="2223"/>
                  </a:lnTo>
                  <a:lnTo>
                    <a:pt x="337" y="1684"/>
                  </a:lnTo>
                  <a:lnTo>
                    <a:pt x="269" y="1146"/>
                  </a:lnTo>
                  <a:lnTo>
                    <a:pt x="236" y="708"/>
                  </a:lnTo>
                  <a:lnTo>
                    <a:pt x="168" y="270"/>
                  </a:lnTo>
                  <a:lnTo>
                    <a:pt x="673" y="304"/>
                  </a:lnTo>
                  <a:lnTo>
                    <a:pt x="1212" y="270"/>
                  </a:lnTo>
                  <a:lnTo>
                    <a:pt x="2256" y="236"/>
                  </a:lnTo>
                  <a:close/>
                  <a:moveTo>
                    <a:pt x="2256" y="1"/>
                  </a:moveTo>
                  <a:lnTo>
                    <a:pt x="1212" y="34"/>
                  </a:lnTo>
                  <a:lnTo>
                    <a:pt x="673" y="34"/>
                  </a:lnTo>
                  <a:lnTo>
                    <a:pt x="135" y="102"/>
                  </a:lnTo>
                  <a:lnTo>
                    <a:pt x="67" y="135"/>
                  </a:lnTo>
                  <a:lnTo>
                    <a:pt x="67" y="203"/>
                  </a:lnTo>
                  <a:lnTo>
                    <a:pt x="34" y="438"/>
                  </a:lnTo>
                  <a:lnTo>
                    <a:pt x="0" y="674"/>
                  </a:lnTo>
                  <a:lnTo>
                    <a:pt x="34" y="1146"/>
                  </a:lnTo>
                  <a:lnTo>
                    <a:pt x="101" y="1752"/>
                  </a:lnTo>
                  <a:lnTo>
                    <a:pt x="135" y="2021"/>
                  </a:lnTo>
                  <a:lnTo>
                    <a:pt x="236" y="2324"/>
                  </a:lnTo>
                  <a:lnTo>
                    <a:pt x="236" y="2358"/>
                  </a:lnTo>
                  <a:lnTo>
                    <a:pt x="370" y="2358"/>
                  </a:lnTo>
                  <a:lnTo>
                    <a:pt x="606" y="2391"/>
                  </a:lnTo>
                  <a:lnTo>
                    <a:pt x="842" y="2391"/>
                  </a:lnTo>
                  <a:lnTo>
                    <a:pt x="1313" y="2358"/>
                  </a:lnTo>
                  <a:lnTo>
                    <a:pt x="2088" y="2358"/>
                  </a:lnTo>
                  <a:lnTo>
                    <a:pt x="2357" y="2290"/>
                  </a:lnTo>
                  <a:lnTo>
                    <a:pt x="2391" y="2324"/>
                  </a:lnTo>
                  <a:lnTo>
                    <a:pt x="2492" y="2324"/>
                  </a:lnTo>
                  <a:lnTo>
                    <a:pt x="2492" y="2290"/>
                  </a:lnTo>
                  <a:lnTo>
                    <a:pt x="2525" y="2021"/>
                  </a:lnTo>
                  <a:lnTo>
                    <a:pt x="2525" y="1752"/>
                  </a:lnTo>
                  <a:lnTo>
                    <a:pt x="2492" y="1247"/>
                  </a:lnTo>
                  <a:lnTo>
                    <a:pt x="2458" y="641"/>
                  </a:lnTo>
                  <a:lnTo>
                    <a:pt x="2424" y="371"/>
                  </a:lnTo>
                  <a:lnTo>
                    <a:pt x="2357" y="68"/>
                  </a:lnTo>
                  <a:lnTo>
                    <a:pt x="2323" y="34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8" name="Google Shape;798;p5"/>
            <p:cNvSpPr/>
            <p:nvPr/>
          </p:nvSpPr>
          <p:spPr>
            <a:xfrm>
              <a:off x="1581864" y="102328"/>
              <a:ext cx="124207" cy="135916"/>
            </a:xfrm>
            <a:custGeom>
              <a:avLst/>
              <a:gdLst/>
              <a:ahLst/>
              <a:cxnLst/>
              <a:rect l="l" t="t" r="r" b="b"/>
              <a:pathLst>
                <a:path w="2493" h="2728" extrusionOk="0">
                  <a:moveTo>
                    <a:pt x="2290" y="236"/>
                  </a:moveTo>
                  <a:lnTo>
                    <a:pt x="2223" y="741"/>
                  </a:lnTo>
                  <a:lnTo>
                    <a:pt x="2223" y="1280"/>
                  </a:lnTo>
                  <a:lnTo>
                    <a:pt x="2223" y="1819"/>
                  </a:lnTo>
                  <a:lnTo>
                    <a:pt x="2290" y="2324"/>
                  </a:lnTo>
                  <a:lnTo>
                    <a:pt x="2324" y="2391"/>
                  </a:lnTo>
                  <a:lnTo>
                    <a:pt x="2324" y="2391"/>
                  </a:lnTo>
                  <a:lnTo>
                    <a:pt x="2290" y="2357"/>
                  </a:lnTo>
                  <a:lnTo>
                    <a:pt x="1819" y="2357"/>
                  </a:lnTo>
                  <a:lnTo>
                    <a:pt x="1347" y="2391"/>
                  </a:lnTo>
                  <a:lnTo>
                    <a:pt x="371" y="2391"/>
                  </a:lnTo>
                  <a:lnTo>
                    <a:pt x="270" y="1314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708" y="303"/>
                  </a:lnTo>
                  <a:lnTo>
                    <a:pt x="1246" y="303"/>
                  </a:lnTo>
                  <a:lnTo>
                    <a:pt x="2290" y="236"/>
                  </a:lnTo>
                  <a:close/>
                  <a:moveTo>
                    <a:pt x="2324" y="0"/>
                  </a:moveTo>
                  <a:lnTo>
                    <a:pt x="1785" y="34"/>
                  </a:lnTo>
                  <a:lnTo>
                    <a:pt x="1246" y="68"/>
                  </a:lnTo>
                  <a:lnTo>
                    <a:pt x="708" y="68"/>
                  </a:lnTo>
                  <a:lnTo>
                    <a:pt x="169" y="101"/>
                  </a:lnTo>
                  <a:lnTo>
                    <a:pt x="102" y="135"/>
                  </a:lnTo>
                  <a:lnTo>
                    <a:pt x="102" y="169"/>
                  </a:lnTo>
                  <a:lnTo>
                    <a:pt x="68" y="202"/>
                  </a:lnTo>
                  <a:lnTo>
                    <a:pt x="34" y="236"/>
                  </a:lnTo>
                  <a:lnTo>
                    <a:pt x="1" y="842"/>
                  </a:lnTo>
                  <a:lnTo>
                    <a:pt x="34" y="1448"/>
                  </a:lnTo>
                  <a:lnTo>
                    <a:pt x="102" y="2054"/>
                  </a:lnTo>
                  <a:lnTo>
                    <a:pt x="203" y="2627"/>
                  </a:lnTo>
                  <a:lnTo>
                    <a:pt x="236" y="2694"/>
                  </a:lnTo>
                  <a:lnTo>
                    <a:pt x="304" y="2728"/>
                  </a:lnTo>
                  <a:lnTo>
                    <a:pt x="371" y="2660"/>
                  </a:lnTo>
                  <a:lnTo>
                    <a:pt x="405" y="2593"/>
                  </a:lnTo>
                  <a:lnTo>
                    <a:pt x="405" y="2526"/>
                  </a:lnTo>
                  <a:lnTo>
                    <a:pt x="876" y="2593"/>
                  </a:lnTo>
                  <a:lnTo>
                    <a:pt x="1347" y="2627"/>
                  </a:lnTo>
                  <a:lnTo>
                    <a:pt x="1852" y="2627"/>
                  </a:lnTo>
                  <a:lnTo>
                    <a:pt x="2088" y="2559"/>
                  </a:lnTo>
                  <a:lnTo>
                    <a:pt x="2290" y="2526"/>
                  </a:lnTo>
                  <a:lnTo>
                    <a:pt x="2357" y="2458"/>
                  </a:lnTo>
                  <a:lnTo>
                    <a:pt x="2324" y="2391"/>
                  </a:lnTo>
                  <a:lnTo>
                    <a:pt x="2324" y="2391"/>
                  </a:lnTo>
                  <a:lnTo>
                    <a:pt x="2391" y="2425"/>
                  </a:lnTo>
                  <a:lnTo>
                    <a:pt x="2425" y="2425"/>
                  </a:lnTo>
                  <a:lnTo>
                    <a:pt x="2458" y="2391"/>
                  </a:lnTo>
                  <a:lnTo>
                    <a:pt x="2458" y="2324"/>
                  </a:lnTo>
                  <a:lnTo>
                    <a:pt x="2492" y="1819"/>
                  </a:lnTo>
                  <a:lnTo>
                    <a:pt x="2492" y="1280"/>
                  </a:lnTo>
                  <a:lnTo>
                    <a:pt x="2458" y="708"/>
                  </a:lnTo>
                  <a:lnTo>
                    <a:pt x="2391" y="202"/>
                  </a:lnTo>
                  <a:lnTo>
                    <a:pt x="2425" y="135"/>
                  </a:lnTo>
                  <a:lnTo>
                    <a:pt x="2425" y="68"/>
                  </a:lnTo>
                  <a:lnTo>
                    <a:pt x="2391" y="34"/>
                  </a:lnTo>
                  <a:lnTo>
                    <a:pt x="23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799" name="Google Shape;799;p5"/>
            <p:cNvSpPr/>
            <p:nvPr/>
          </p:nvSpPr>
          <p:spPr>
            <a:xfrm>
              <a:off x="1612057" y="239888"/>
              <a:ext cx="129240" cy="120820"/>
            </a:xfrm>
            <a:custGeom>
              <a:avLst/>
              <a:gdLst/>
              <a:ahLst/>
              <a:cxnLst/>
              <a:rect l="l" t="t" r="r" b="b"/>
              <a:pathLst>
                <a:path w="2594" h="2425" extrusionOk="0">
                  <a:moveTo>
                    <a:pt x="1819" y="0"/>
                  </a:moveTo>
                  <a:lnTo>
                    <a:pt x="1280" y="68"/>
                  </a:lnTo>
                  <a:lnTo>
                    <a:pt x="708" y="101"/>
                  </a:lnTo>
                  <a:lnTo>
                    <a:pt x="135" y="202"/>
                  </a:lnTo>
                  <a:lnTo>
                    <a:pt x="135" y="135"/>
                  </a:lnTo>
                  <a:lnTo>
                    <a:pt x="102" y="101"/>
                  </a:lnTo>
                  <a:lnTo>
                    <a:pt x="34" y="101"/>
                  </a:lnTo>
                  <a:lnTo>
                    <a:pt x="1" y="135"/>
                  </a:lnTo>
                  <a:lnTo>
                    <a:pt x="1" y="438"/>
                  </a:lnTo>
                  <a:lnTo>
                    <a:pt x="1" y="741"/>
                  </a:lnTo>
                  <a:lnTo>
                    <a:pt x="34" y="1347"/>
                  </a:lnTo>
                  <a:lnTo>
                    <a:pt x="34" y="1852"/>
                  </a:lnTo>
                  <a:lnTo>
                    <a:pt x="68" y="2121"/>
                  </a:lnTo>
                  <a:lnTo>
                    <a:pt x="102" y="2391"/>
                  </a:lnTo>
                  <a:lnTo>
                    <a:pt x="135" y="2391"/>
                  </a:lnTo>
                  <a:lnTo>
                    <a:pt x="169" y="2424"/>
                  </a:lnTo>
                  <a:lnTo>
                    <a:pt x="203" y="2391"/>
                  </a:lnTo>
                  <a:lnTo>
                    <a:pt x="1314" y="2391"/>
                  </a:lnTo>
                  <a:lnTo>
                    <a:pt x="1819" y="2357"/>
                  </a:lnTo>
                  <a:lnTo>
                    <a:pt x="2088" y="2323"/>
                  </a:lnTo>
                  <a:lnTo>
                    <a:pt x="2324" y="2290"/>
                  </a:lnTo>
                  <a:lnTo>
                    <a:pt x="2357" y="2323"/>
                  </a:lnTo>
                  <a:lnTo>
                    <a:pt x="2391" y="2323"/>
                  </a:lnTo>
                  <a:lnTo>
                    <a:pt x="2492" y="2290"/>
                  </a:lnTo>
                  <a:lnTo>
                    <a:pt x="2559" y="2189"/>
                  </a:lnTo>
                  <a:lnTo>
                    <a:pt x="2593" y="2088"/>
                  </a:lnTo>
                  <a:lnTo>
                    <a:pt x="2593" y="1953"/>
                  </a:lnTo>
                  <a:lnTo>
                    <a:pt x="2559" y="1717"/>
                  </a:lnTo>
                  <a:lnTo>
                    <a:pt x="2559" y="1482"/>
                  </a:lnTo>
                  <a:lnTo>
                    <a:pt x="2526" y="775"/>
                  </a:lnTo>
                  <a:lnTo>
                    <a:pt x="2458" y="404"/>
                  </a:lnTo>
                  <a:lnTo>
                    <a:pt x="2425" y="236"/>
                  </a:lnTo>
                  <a:lnTo>
                    <a:pt x="2324" y="101"/>
                  </a:lnTo>
                  <a:lnTo>
                    <a:pt x="2256" y="202"/>
                  </a:lnTo>
                  <a:lnTo>
                    <a:pt x="2256" y="337"/>
                  </a:lnTo>
                  <a:lnTo>
                    <a:pt x="2256" y="606"/>
                  </a:lnTo>
                  <a:lnTo>
                    <a:pt x="2324" y="1145"/>
                  </a:lnTo>
                  <a:lnTo>
                    <a:pt x="2324" y="1650"/>
                  </a:lnTo>
                  <a:lnTo>
                    <a:pt x="2324" y="2155"/>
                  </a:lnTo>
                  <a:lnTo>
                    <a:pt x="2088" y="2121"/>
                  </a:lnTo>
                  <a:lnTo>
                    <a:pt x="1819" y="2088"/>
                  </a:lnTo>
                  <a:lnTo>
                    <a:pt x="1314" y="2121"/>
                  </a:lnTo>
                  <a:lnTo>
                    <a:pt x="270" y="2189"/>
                  </a:lnTo>
                  <a:lnTo>
                    <a:pt x="236" y="2189"/>
                  </a:lnTo>
                  <a:lnTo>
                    <a:pt x="270" y="1919"/>
                  </a:lnTo>
                  <a:lnTo>
                    <a:pt x="270" y="1684"/>
                  </a:lnTo>
                  <a:lnTo>
                    <a:pt x="236" y="1179"/>
                  </a:lnTo>
                  <a:lnTo>
                    <a:pt x="203" y="775"/>
                  </a:lnTo>
                  <a:lnTo>
                    <a:pt x="169" y="404"/>
                  </a:lnTo>
                  <a:lnTo>
                    <a:pt x="809" y="337"/>
                  </a:lnTo>
                  <a:lnTo>
                    <a:pt x="1448" y="270"/>
                  </a:lnTo>
                  <a:lnTo>
                    <a:pt x="1886" y="236"/>
                  </a:lnTo>
                  <a:lnTo>
                    <a:pt x="2088" y="202"/>
                  </a:lnTo>
                  <a:lnTo>
                    <a:pt x="2290" y="101"/>
                  </a:lnTo>
                  <a:lnTo>
                    <a:pt x="2290" y="68"/>
                  </a:lnTo>
                  <a:lnTo>
                    <a:pt x="2189" y="34"/>
                  </a:lnTo>
                  <a:lnTo>
                    <a:pt x="205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0" name="Google Shape;800;p5"/>
            <p:cNvSpPr/>
            <p:nvPr/>
          </p:nvSpPr>
          <p:spPr>
            <a:xfrm>
              <a:off x="1781503" y="598859"/>
              <a:ext cx="43645" cy="25210"/>
            </a:xfrm>
            <a:custGeom>
              <a:avLst/>
              <a:gdLst/>
              <a:ahLst/>
              <a:cxnLst/>
              <a:rect l="l" t="t" r="r" b="b"/>
              <a:pathLst>
                <a:path w="876" h="506" extrusionOk="0">
                  <a:moveTo>
                    <a:pt x="707" y="0"/>
                  </a:moveTo>
                  <a:lnTo>
                    <a:pt x="539" y="169"/>
                  </a:lnTo>
                  <a:lnTo>
                    <a:pt x="404" y="303"/>
                  </a:lnTo>
                  <a:lnTo>
                    <a:pt x="270" y="169"/>
                  </a:lnTo>
                  <a:lnTo>
                    <a:pt x="169" y="34"/>
                  </a:lnTo>
                  <a:lnTo>
                    <a:pt x="34" y="34"/>
                  </a:lnTo>
                  <a:lnTo>
                    <a:pt x="0" y="101"/>
                  </a:lnTo>
                  <a:lnTo>
                    <a:pt x="34" y="169"/>
                  </a:lnTo>
                  <a:lnTo>
                    <a:pt x="135" y="303"/>
                  </a:lnTo>
                  <a:lnTo>
                    <a:pt x="270" y="472"/>
                  </a:lnTo>
                  <a:lnTo>
                    <a:pt x="303" y="505"/>
                  </a:lnTo>
                  <a:lnTo>
                    <a:pt x="337" y="505"/>
                  </a:lnTo>
                  <a:lnTo>
                    <a:pt x="404" y="472"/>
                  </a:lnTo>
                  <a:lnTo>
                    <a:pt x="438" y="472"/>
                  </a:lnTo>
                  <a:lnTo>
                    <a:pt x="472" y="438"/>
                  </a:lnTo>
                  <a:lnTo>
                    <a:pt x="674" y="303"/>
                  </a:lnTo>
                  <a:lnTo>
                    <a:pt x="842" y="169"/>
                  </a:lnTo>
                  <a:lnTo>
                    <a:pt x="876" y="101"/>
                  </a:lnTo>
                  <a:lnTo>
                    <a:pt x="842" y="34"/>
                  </a:lnTo>
                  <a:lnTo>
                    <a:pt x="77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1" name="Google Shape;801;p5"/>
            <p:cNvSpPr/>
            <p:nvPr/>
          </p:nvSpPr>
          <p:spPr>
            <a:xfrm>
              <a:off x="1243022" y="303611"/>
              <a:ext cx="40306" cy="42000"/>
            </a:xfrm>
            <a:custGeom>
              <a:avLst/>
              <a:gdLst/>
              <a:ahLst/>
              <a:cxnLst/>
              <a:rect l="l" t="t" r="r" b="b"/>
              <a:pathLst>
                <a:path w="809" h="843" extrusionOk="0">
                  <a:moveTo>
                    <a:pt x="34" y="1"/>
                  </a:moveTo>
                  <a:lnTo>
                    <a:pt x="1" y="135"/>
                  </a:lnTo>
                  <a:lnTo>
                    <a:pt x="1" y="270"/>
                  </a:lnTo>
                  <a:lnTo>
                    <a:pt x="1" y="640"/>
                  </a:lnTo>
                  <a:lnTo>
                    <a:pt x="34" y="708"/>
                  </a:lnTo>
                  <a:lnTo>
                    <a:pt x="68" y="741"/>
                  </a:lnTo>
                  <a:lnTo>
                    <a:pt x="135" y="741"/>
                  </a:lnTo>
                  <a:lnTo>
                    <a:pt x="169" y="708"/>
                  </a:lnTo>
                  <a:lnTo>
                    <a:pt x="371" y="506"/>
                  </a:lnTo>
                  <a:lnTo>
                    <a:pt x="371" y="539"/>
                  </a:lnTo>
                  <a:lnTo>
                    <a:pt x="405" y="607"/>
                  </a:lnTo>
                  <a:lnTo>
                    <a:pt x="472" y="708"/>
                  </a:lnTo>
                  <a:lnTo>
                    <a:pt x="573" y="809"/>
                  </a:lnTo>
                  <a:lnTo>
                    <a:pt x="607" y="842"/>
                  </a:lnTo>
                  <a:lnTo>
                    <a:pt x="674" y="842"/>
                  </a:lnTo>
                  <a:lnTo>
                    <a:pt x="708" y="775"/>
                  </a:lnTo>
                  <a:lnTo>
                    <a:pt x="708" y="741"/>
                  </a:lnTo>
                  <a:lnTo>
                    <a:pt x="640" y="640"/>
                  </a:lnTo>
                  <a:lnTo>
                    <a:pt x="539" y="506"/>
                  </a:lnTo>
                  <a:lnTo>
                    <a:pt x="472" y="472"/>
                  </a:lnTo>
                  <a:lnTo>
                    <a:pt x="438" y="472"/>
                  </a:lnTo>
                  <a:lnTo>
                    <a:pt x="506" y="405"/>
                  </a:lnTo>
                  <a:lnTo>
                    <a:pt x="640" y="270"/>
                  </a:lnTo>
                  <a:lnTo>
                    <a:pt x="674" y="304"/>
                  </a:lnTo>
                  <a:lnTo>
                    <a:pt x="741" y="270"/>
                  </a:lnTo>
                  <a:lnTo>
                    <a:pt x="809" y="203"/>
                  </a:lnTo>
                  <a:lnTo>
                    <a:pt x="809" y="169"/>
                  </a:lnTo>
                  <a:lnTo>
                    <a:pt x="775" y="102"/>
                  </a:lnTo>
                  <a:lnTo>
                    <a:pt x="741" y="68"/>
                  </a:lnTo>
                  <a:lnTo>
                    <a:pt x="573" y="68"/>
                  </a:lnTo>
                  <a:lnTo>
                    <a:pt x="438" y="169"/>
                  </a:lnTo>
                  <a:lnTo>
                    <a:pt x="337" y="304"/>
                  </a:lnTo>
                  <a:lnTo>
                    <a:pt x="169" y="472"/>
                  </a:lnTo>
                  <a:lnTo>
                    <a:pt x="135" y="304"/>
                  </a:lnTo>
                  <a:lnTo>
                    <a:pt x="135" y="135"/>
                  </a:lnTo>
                  <a:lnTo>
                    <a:pt x="102" y="68"/>
                  </a:lnTo>
                  <a:lnTo>
                    <a:pt x="6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2" name="Google Shape;802;p5"/>
            <p:cNvSpPr/>
            <p:nvPr/>
          </p:nvSpPr>
          <p:spPr>
            <a:xfrm>
              <a:off x="1196089" y="254984"/>
              <a:ext cx="124158" cy="130884"/>
            </a:xfrm>
            <a:custGeom>
              <a:avLst/>
              <a:gdLst/>
              <a:ahLst/>
              <a:cxnLst/>
              <a:rect l="l" t="t" r="r" b="b"/>
              <a:pathLst>
                <a:path w="2492" h="2627" extrusionOk="0">
                  <a:moveTo>
                    <a:pt x="2222" y="135"/>
                  </a:moveTo>
                  <a:lnTo>
                    <a:pt x="2222" y="1212"/>
                  </a:lnTo>
                  <a:lnTo>
                    <a:pt x="2188" y="2290"/>
                  </a:lnTo>
                  <a:lnTo>
                    <a:pt x="1717" y="2323"/>
                  </a:lnTo>
                  <a:lnTo>
                    <a:pt x="1212" y="2357"/>
                  </a:lnTo>
                  <a:lnTo>
                    <a:pt x="774" y="2357"/>
                  </a:lnTo>
                  <a:lnTo>
                    <a:pt x="539" y="2391"/>
                  </a:lnTo>
                  <a:lnTo>
                    <a:pt x="303" y="2424"/>
                  </a:lnTo>
                  <a:lnTo>
                    <a:pt x="269" y="2424"/>
                  </a:lnTo>
                  <a:lnTo>
                    <a:pt x="269" y="2391"/>
                  </a:lnTo>
                  <a:lnTo>
                    <a:pt x="303" y="1886"/>
                  </a:lnTo>
                  <a:lnTo>
                    <a:pt x="269" y="1347"/>
                  </a:lnTo>
                  <a:lnTo>
                    <a:pt x="236" y="808"/>
                  </a:lnTo>
                  <a:lnTo>
                    <a:pt x="135" y="270"/>
                  </a:lnTo>
                  <a:lnTo>
                    <a:pt x="1178" y="270"/>
                  </a:lnTo>
                  <a:lnTo>
                    <a:pt x="1683" y="236"/>
                  </a:lnTo>
                  <a:lnTo>
                    <a:pt x="2222" y="135"/>
                  </a:lnTo>
                  <a:close/>
                  <a:moveTo>
                    <a:pt x="1683" y="0"/>
                  </a:moveTo>
                  <a:lnTo>
                    <a:pt x="1145" y="34"/>
                  </a:lnTo>
                  <a:lnTo>
                    <a:pt x="606" y="68"/>
                  </a:lnTo>
                  <a:lnTo>
                    <a:pt x="67" y="68"/>
                  </a:lnTo>
                  <a:lnTo>
                    <a:pt x="0" y="101"/>
                  </a:lnTo>
                  <a:lnTo>
                    <a:pt x="0" y="135"/>
                  </a:lnTo>
                  <a:lnTo>
                    <a:pt x="0" y="202"/>
                  </a:lnTo>
                  <a:lnTo>
                    <a:pt x="34" y="270"/>
                  </a:lnTo>
                  <a:lnTo>
                    <a:pt x="0" y="775"/>
                  </a:lnTo>
                  <a:lnTo>
                    <a:pt x="34" y="1347"/>
                  </a:lnTo>
                  <a:lnTo>
                    <a:pt x="67" y="1886"/>
                  </a:lnTo>
                  <a:lnTo>
                    <a:pt x="101" y="2391"/>
                  </a:lnTo>
                  <a:lnTo>
                    <a:pt x="135" y="2458"/>
                  </a:lnTo>
                  <a:lnTo>
                    <a:pt x="168" y="2458"/>
                  </a:lnTo>
                  <a:lnTo>
                    <a:pt x="202" y="2492"/>
                  </a:lnTo>
                  <a:lnTo>
                    <a:pt x="236" y="2458"/>
                  </a:lnTo>
                  <a:lnTo>
                    <a:pt x="236" y="2525"/>
                  </a:lnTo>
                  <a:lnTo>
                    <a:pt x="303" y="2559"/>
                  </a:lnTo>
                  <a:lnTo>
                    <a:pt x="539" y="2593"/>
                  </a:lnTo>
                  <a:lnTo>
                    <a:pt x="774" y="2626"/>
                  </a:lnTo>
                  <a:lnTo>
                    <a:pt x="1246" y="2626"/>
                  </a:lnTo>
                  <a:lnTo>
                    <a:pt x="1751" y="2525"/>
                  </a:lnTo>
                  <a:lnTo>
                    <a:pt x="2188" y="2424"/>
                  </a:lnTo>
                  <a:lnTo>
                    <a:pt x="2188" y="2492"/>
                  </a:lnTo>
                  <a:lnTo>
                    <a:pt x="2222" y="2559"/>
                  </a:lnTo>
                  <a:lnTo>
                    <a:pt x="2289" y="2593"/>
                  </a:lnTo>
                  <a:lnTo>
                    <a:pt x="2357" y="2593"/>
                  </a:lnTo>
                  <a:lnTo>
                    <a:pt x="2424" y="2525"/>
                  </a:lnTo>
                  <a:lnTo>
                    <a:pt x="2458" y="1919"/>
                  </a:lnTo>
                  <a:lnTo>
                    <a:pt x="2491" y="1313"/>
                  </a:lnTo>
                  <a:lnTo>
                    <a:pt x="2458" y="707"/>
                  </a:lnTo>
                  <a:lnTo>
                    <a:pt x="2357" y="101"/>
                  </a:lnTo>
                  <a:lnTo>
                    <a:pt x="2357" y="68"/>
                  </a:lnTo>
                  <a:lnTo>
                    <a:pt x="2323" y="68"/>
                  </a:lnTo>
                  <a:lnTo>
                    <a:pt x="228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3" name="Google Shape;803;p5"/>
            <p:cNvSpPr/>
            <p:nvPr/>
          </p:nvSpPr>
          <p:spPr>
            <a:xfrm>
              <a:off x="1170928" y="436139"/>
              <a:ext cx="45338" cy="38612"/>
            </a:xfrm>
            <a:custGeom>
              <a:avLst/>
              <a:gdLst/>
              <a:ahLst/>
              <a:cxnLst/>
              <a:rect l="l" t="t" r="r" b="b"/>
              <a:pathLst>
                <a:path w="910" h="775" extrusionOk="0">
                  <a:moveTo>
                    <a:pt x="67" y="0"/>
                  </a:moveTo>
                  <a:lnTo>
                    <a:pt x="0" y="34"/>
                  </a:lnTo>
                  <a:lnTo>
                    <a:pt x="0" y="101"/>
                  </a:lnTo>
                  <a:lnTo>
                    <a:pt x="0" y="674"/>
                  </a:lnTo>
                  <a:lnTo>
                    <a:pt x="34" y="741"/>
                  </a:lnTo>
                  <a:lnTo>
                    <a:pt x="168" y="741"/>
                  </a:lnTo>
                  <a:lnTo>
                    <a:pt x="202" y="674"/>
                  </a:lnTo>
                  <a:lnTo>
                    <a:pt x="202" y="438"/>
                  </a:lnTo>
                  <a:lnTo>
                    <a:pt x="303" y="606"/>
                  </a:lnTo>
                  <a:lnTo>
                    <a:pt x="370" y="640"/>
                  </a:lnTo>
                  <a:lnTo>
                    <a:pt x="404" y="640"/>
                  </a:lnTo>
                  <a:lnTo>
                    <a:pt x="438" y="606"/>
                  </a:lnTo>
                  <a:lnTo>
                    <a:pt x="640" y="404"/>
                  </a:lnTo>
                  <a:lnTo>
                    <a:pt x="673" y="573"/>
                  </a:lnTo>
                  <a:lnTo>
                    <a:pt x="741" y="741"/>
                  </a:lnTo>
                  <a:lnTo>
                    <a:pt x="808" y="775"/>
                  </a:lnTo>
                  <a:lnTo>
                    <a:pt x="875" y="741"/>
                  </a:lnTo>
                  <a:lnTo>
                    <a:pt x="909" y="707"/>
                  </a:lnTo>
                  <a:lnTo>
                    <a:pt x="909" y="640"/>
                  </a:lnTo>
                  <a:lnTo>
                    <a:pt x="842" y="404"/>
                  </a:lnTo>
                  <a:lnTo>
                    <a:pt x="842" y="270"/>
                  </a:lnTo>
                  <a:lnTo>
                    <a:pt x="842" y="135"/>
                  </a:lnTo>
                  <a:lnTo>
                    <a:pt x="842" y="68"/>
                  </a:lnTo>
                  <a:lnTo>
                    <a:pt x="808" y="34"/>
                  </a:lnTo>
                  <a:lnTo>
                    <a:pt x="741" y="34"/>
                  </a:lnTo>
                  <a:lnTo>
                    <a:pt x="673" y="68"/>
                  </a:lnTo>
                  <a:lnTo>
                    <a:pt x="404" y="371"/>
                  </a:lnTo>
                  <a:lnTo>
                    <a:pt x="168" y="34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4" name="Google Shape;804;p5"/>
            <p:cNvSpPr/>
            <p:nvPr/>
          </p:nvSpPr>
          <p:spPr>
            <a:xfrm>
              <a:off x="1412468" y="385818"/>
              <a:ext cx="127496" cy="119126"/>
            </a:xfrm>
            <a:custGeom>
              <a:avLst/>
              <a:gdLst/>
              <a:ahLst/>
              <a:cxnLst/>
              <a:rect l="l" t="t" r="r" b="b"/>
              <a:pathLst>
                <a:path w="2559" h="2391" extrusionOk="0">
                  <a:moveTo>
                    <a:pt x="101" y="0"/>
                  </a:moveTo>
                  <a:lnTo>
                    <a:pt x="101" y="34"/>
                  </a:lnTo>
                  <a:lnTo>
                    <a:pt x="34" y="303"/>
                  </a:lnTo>
                  <a:lnTo>
                    <a:pt x="0" y="539"/>
                  </a:lnTo>
                  <a:lnTo>
                    <a:pt x="34" y="1078"/>
                  </a:lnTo>
                  <a:lnTo>
                    <a:pt x="68" y="1684"/>
                  </a:lnTo>
                  <a:lnTo>
                    <a:pt x="101" y="1987"/>
                  </a:lnTo>
                  <a:lnTo>
                    <a:pt x="169" y="2290"/>
                  </a:lnTo>
                  <a:lnTo>
                    <a:pt x="202" y="2323"/>
                  </a:lnTo>
                  <a:lnTo>
                    <a:pt x="270" y="2357"/>
                  </a:lnTo>
                  <a:lnTo>
                    <a:pt x="303" y="2323"/>
                  </a:lnTo>
                  <a:lnTo>
                    <a:pt x="337" y="2256"/>
                  </a:lnTo>
                  <a:lnTo>
                    <a:pt x="337" y="1953"/>
                  </a:lnTo>
                  <a:lnTo>
                    <a:pt x="303" y="1650"/>
                  </a:lnTo>
                  <a:lnTo>
                    <a:pt x="236" y="1078"/>
                  </a:lnTo>
                  <a:lnTo>
                    <a:pt x="236" y="640"/>
                  </a:lnTo>
                  <a:lnTo>
                    <a:pt x="202" y="202"/>
                  </a:lnTo>
                  <a:lnTo>
                    <a:pt x="438" y="236"/>
                  </a:lnTo>
                  <a:lnTo>
                    <a:pt x="1145" y="236"/>
                  </a:lnTo>
                  <a:lnTo>
                    <a:pt x="2222" y="169"/>
                  </a:lnTo>
                  <a:lnTo>
                    <a:pt x="2256" y="236"/>
                  </a:lnTo>
                  <a:lnTo>
                    <a:pt x="2357" y="236"/>
                  </a:lnTo>
                  <a:lnTo>
                    <a:pt x="2323" y="573"/>
                  </a:lnTo>
                  <a:lnTo>
                    <a:pt x="2323" y="876"/>
                  </a:lnTo>
                  <a:lnTo>
                    <a:pt x="2357" y="2054"/>
                  </a:lnTo>
                  <a:lnTo>
                    <a:pt x="1886" y="2054"/>
                  </a:lnTo>
                  <a:lnTo>
                    <a:pt x="1414" y="2088"/>
                  </a:lnTo>
                  <a:lnTo>
                    <a:pt x="707" y="2088"/>
                  </a:lnTo>
                  <a:lnTo>
                    <a:pt x="539" y="2121"/>
                  </a:lnTo>
                  <a:lnTo>
                    <a:pt x="438" y="2189"/>
                  </a:lnTo>
                  <a:lnTo>
                    <a:pt x="337" y="2256"/>
                  </a:lnTo>
                  <a:lnTo>
                    <a:pt x="438" y="2323"/>
                  </a:lnTo>
                  <a:lnTo>
                    <a:pt x="539" y="2357"/>
                  </a:lnTo>
                  <a:lnTo>
                    <a:pt x="775" y="2391"/>
                  </a:lnTo>
                  <a:lnTo>
                    <a:pt x="1280" y="2357"/>
                  </a:lnTo>
                  <a:lnTo>
                    <a:pt x="1818" y="2357"/>
                  </a:lnTo>
                  <a:lnTo>
                    <a:pt x="2121" y="2323"/>
                  </a:lnTo>
                  <a:lnTo>
                    <a:pt x="2391" y="2256"/>
                  </a:lnTo>
                  <a:lnTo>
                    <a:pt x="2424" y="2323"/>
                  </a:lnTo>
                  <a:lnTo>
                    <a:pt x="2492" y="2323"/>
                  </a:lnTo>
                  <a:lnTo>
                    <a:pt x="2559" y="2290"/>
                  </a:lnTo>
                  <a:lnTo>
                    <a:pt x="2559" y="2222"/>
                  </a:lnTo>
                  <a:lnTo>
                    <a:pt x="2525" y="1044"/>
                  </a:lnTo>
                  <a:lnTo>
                    <a:pt x="2525" y="539"/>
                  </a:lnTo>
                  <a:lnTo>
                    <a:pt x="2492" y="270"/>
                  </a:lnTo>
                  <a:lnTo>
                    <a:pt x="2458" y="34"/>
                  </a:lnTo>
                  <a:lnTo>
                    <a:pt x="2424" y="34"/>
                  </a:lnTo>
                  <a:lnTo>
                    <a:pt x="2391" y="68"/>
                  </a:lnTo>
                  <a:lnTo>
                    <a:pt x="2323" y="34"/>
                  </a:lnTo>
                  <a:lnTo>
                    <a:pt x="2222" y="0"/>
                  </a:lnTo>
                  <a:lnTo>
                    <a:pt x="2020" y="0"/>
                  </a:lnTo>
                  <a:lnTo>
                    <a:pt x="1616" y="34"/>
                  </a:lnTo>
                  <a:lnTo>
                    <a:pt x="909" y="34"/>
                  </a:lnTo>
                  <a:lnTo>
                    <a:pt x="539" y="68"/>
                  </a:lnTo>
                  <a:lnTo>
                    <a:pt x="202" y="101"/>
                  </a:lnTo>
                  <a:lnTo>
                    <a:pt x="202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5" name="Google Shape;805;p5"/>
            <p:cNvSpPr/>
            <p:nvPr/>
          </p:nvSpPr>
          <p:spPr>
            <a:xfrm>
              <a:off x="1479529" y="155987"/>
              <a:ext cx="45338" cy="35274"/>
            </a:xfrm>
            <a:custGeom>
              <a:avLst/>
              <a:gdLst/>
              <a:ahLst/>
              <a:cxnLst/>
              <a:rect l="l" t="t" r="r" b="b"/>
              <a:pathLst>
                <a:path w="910" h="708" extrusionOk="0">
                  <a:moveTo>
                    <a:pt x="607" y="169"/>
                  </a:moveTo>
                  <a:lnTo>
                    <a:pt x="742" y="203"/>
                  </a:lnTo>
                  <a:lnTo>
                    <a:pt x="641" y="304"/>
                  </a:lnTo>
                  <a:lnTo>
                    <a:pt x="540" y="371"/>
                  </a:lnTo>
                  <a:lnTo>
                    <a:pt x="270" y="371"/>
                  </a:lnTo>
                  <a:lnTo>
                    <a:pt x="270" y="203"/>
                  </a:lnTo>
                  <a:lnTo>
                    <a:pt x="371" y="169"/>
                  </a:lnTo>
                  <a:close/>
                  <a:moveTo>
                    <a:pt x="506" y="1"/>
                  </a:moveTo>
                  <a:lnTo>
                    <a:pt x="371" y="35"/>
                  </a:lnTo>
                  <a:lnTo>
                    <a:pt x="270" y="102"/>
                  </a:lnTo>
                  <a:lnTo>
                    <a:pt x="203" y="68"/>
                  </a:lnTo>
                  <a:lnTo>
                    <a:pt x="169" y="68"/>
                  </a:lnTo>
                  <a:lnTo>
                    <a:pt x="136" y="102"/>
                  </a:lnTo>
                  <a:lnTo>
                    <a:pt x="102" y="203"/>
                  </a:lnTo>
                  <a:lnTo>
                    <a:pt x="102" y="338"/>
                  </a:lnTo>
                  <a:lnTo>
                    <a:pt x="35" y="371"/>
                  </a:lnTo>
                  <a:lnTo>
                    <a:pt x="1" y="439"/>
                  </a:lnTo>
                  <a:lnTo>
                    <a:pt x="35" y="506"/>
                  </a:lnTo>
                  <a:lnTo>
                    <a:pt x="102" y="540"/>
                  </a:lnTo>
                  <a:lnTo>
                    <a:pt x="102" y="607"/>
                  </a:lnTo>
                  <a:lnTo>
                    <a:pt x="136" y="674"/>
                  </a:lnTo>
                  <a:lnTo>
                    <a:pt x="169" y="708"/>
                  </a:lnTo>
                  <a:lnTo>
                    <a:pt x="203" y="708"/>
                  </a:lnTo>
                  <a:lnTo>
                    <a:pt x="237" y="674"/>
                  </a:lnTo>
                  <a:lnTo>
                    <a:pt x="270" y="641"/>
                  </a:lnTo>
                  <a:lnTo>
                    <a:pt x="304" y="607"/>
                  </a:lnTo>
                  <a:lnTo>
                    <a:pt x="270" y="540"/>
                  </a:lnTo>
                  <a:lnTo>
                    <a:pt x="506" y="540"/>
                  </a:lnTo>
                  <a:lnTo>
                    <a:pt x="708" y="472"/>
                  </a:lnTo>
                  <a:lnTo>
                    <a:pt x="775" y="439"/>
                  </a:lnTo>
                  <a:lnTo>
                    <a:pt x="843" y="371"/>
                  </a:lnTo>
                  <a:lnTo>
                    <a:pt x="876" y="270"/>
                  </a:lnTo>
                  <a:lnTo>
                    <a:pt x="910" y="169"/>
                  </a:lnTo>
                  <a:lnTo>
                    <a:pt x="910" y="102"/>
                  </a:lnTo>
                  <a:lnTo>
                    <a:pt x="876" y="102"/>
                  </a:lnTo>
                  <a:lnTo>
                    <a:pt x="67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6" name="Google Shape;806;p5"/>
            <p:cNvSpPr/>
            <p:nvPr/>
          </p:nvSpPr>
          <p:spPr>
            <a:xfrm>
              <a:off x="1442660" y="533442"/>
              <a:ext cx="11758" cy="130884"/>
            </a:xfrm>
            <a:custGeom>
              <a:avLst/>
              <a:gdLst/>
              <a:ahLst/>
              <a:cxnLst/>
              <a:rect l="l" t="t" r="r" b="b"/>
              <a:pathLst>
                <a:path w="236" h="2627" extrusionOk="0">
                  <a:moveTo>
                    <a:pt x="68" y="0"/>
                  </a:moveTo>
                  <a:lnTo>
                    <a:pt x="0" y="236"/>
                  </a:lnTo>
                  <a:lnTo>
                    <a:pt x="0" y="472"/>
                  </a:lnTo>
                  <a:lnTo>
                    <a:pt x="0" y="977"/>
                  </a:lnTo>
                  <a:lnTo>
                    <a:pt x="0" y="1785"/>
                  </a:lnTo>
                  <a:lnTo>
                    <a:pt x="0" y="2155"/>
                  </a:lnTo>
                  <a:lnTo>
                    <a:pt x="34" y="2559"/>
                  </a:lnTo>
                  <a:lnTo>
                    <a:pt x="68" y="2593"/>
                  </a:lnTo>
                  <a:lnTo>
                    <a:pt x="101" y="2626"/>
                  </a:lnTo>
                  <a:lnTo>
                    <a:pt x="169" y="2626"/>
                  </a:lnTo>
                  <a:lnTo>
                    <a:pt x="202" y="2559"/>
                  </a:lnTo>
                  <a:lnTo>
                    <a:pt x="202" y="2256"/>
                  </a:lnTo>
                  <a:lnTo>
                    <a:pt x="236" y="1953"/>
                  </a:lnTo>
                  <a:lnTo>
                    <a:pt x="202" y="1381"/>
                  </a:lnTo>
                  <a:lnTo>
                    <a:pt x="202" y="674"/>
                  </a:lnTo>
                  <a:lnTo>
                    <a:pt x="202" y="337"/>
                  </a:lnTo>
                  <a:lnTo>
                    <a:pt x="169" y="169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7" name="Google Shape;807;p5"/>
            <p:cNvSpPr/>
            <p:nvPr/>
          </p:nvSpPr>
          <p:spPr>
            <a:xfrm>
              <a:off x="1647281" y="600503"/>
              <a:ext cx="21872" cy="33630"/>
            </a:xfrm>
            <a:custGeom>
              <a:avLst/>
              <a:gdLst/>
              <a:ahLst/>
              <a:cxnLst/>
              <a:rect l="l" t="t" r="r" b="b"/>
              <a:pathLst>
                <a:path w="439" h="675" extrusionOk="0">
                  <a:moveTo>
                    <a:pt x="270" y="1"/>
                  </a:moveTo>
                  <a:lnTo>
                    <a:pt x="203" y="68"/>
                  </a:lnTo>
                  <a:lnTo>
                    <a:pt x="135" y="136"/>
                  </a:lnTo>
                  <a:lnTo>
                    <a:pt x="34" y="237"/>
                  </a:lnTo>
                  <a:lnTo>
                    <a:pt x="1" y="371"/>
                  </a:lnTo>
                  <a:lnTo>
                    <a:pt x="34" y="405"/>
                  </a:lnTo>
                  <a:lnTo>
                    <a:pt x="34" y="439"/>
                  </a:lnTo>
                  <a:lnTo>
                    <a:pt x="135" y="439"/>
                  </a:lnTo>
                  <a:lnTo>
                    <a:pt x="169" y="506"/>
                  </a:lnTo>
                  <a:lnTo>
                    <a:pt x="304" y="641"/>
                  </a:lnTo>
                  <a:lnTo>
                    <a:pt x="371" y="674"/>
                  </a:lnTo>
                  <a:lnTo>
                    <a:pt x="438" y="641"/>
                  </a:lnTo>
                  <a:lnTo>
                    <a:pt x="438" y="607"/>
                  </a:lnTo>
                  <a:lnTo>
                    <a:pt x="438" y="540"/>
                  </a:lnTo>
                  <a:lnTo>
                    <a:pt x="337" y="439"/>
                  </a:lnTo>
                  <a:lnTo>
                    <a:pt x="236" y="338"/>
                  </a:lnTo>
                  <a:lnTo>
                    <a:pt x="405" y="169"/>
                  </a:lnTo>
                  <a:lnTo>
                    <a:pt x="438" y="136"/>
                  </a:lnTo>
                  <a:lnTo>
                    <a:pt x="438" y="68"/>
                  </a:lnTo>
                  <a:lnTo>
                    <a:pt x="40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8" name="Google Shape;808;p5"/>
            <p:cNvSpPr/>
            <p:nvPr/>
          </p:nvSpPr>
          <p:spPr>
            <a:xfrm>
              <a:off x="1553366" y="375754"/>
              <a:ext cx="124158" cy="134222"/>
            </a:xfrm>
            <a:custGeom>
              <a:avLst/>
              <a:gdLst/>
              <a:ahLst/>
              <a:cxnLst/>
              <a:rect l="l" t="t" r="r" b="b"/>
              <a:pathLst>
                <a:path w="2492" h="2694" extrusionOk="0">
                  <a:moveTo>
                    <a:pt x="2290" y="202"/>
                  </a:moveTo>
                  <a:lnTo>
                    <a:pt x="2222" y="707"/>
                  </a:lnTo>
                  <a:lnTo>
                    <a:pt x="2222" y="1246"/>
                  </a:lnTo>
                  <a:lnTo>
                    <a:pt x="2256" y="1785"/>
                  </a:lnTo>
                  <a:lnTo>
                    <a:pt x="2290" y="2323"/>
                  </a:lnTo>
                  <a:lnTo>
                    <a:pt x="2323" y="2357"/>
                  </a:lnTo>
                  <a:lnTo>
                    <a:pt x="2290" y="2357"/>
                  </a:lnTo>
                  <a:lnTo>
                    <a:pt x="2054" y="2323"/>
                  </a:lnTo>
                  <a:lnTo>
                    <a:pt x="1818" y="2323"/>
                  </a:lnTo>
                  <a:lnTo>
                    <a:pt x="1347" y="2357"/>
                  </a:lnTo>
                  <a:lnTo>
                    <a:pt x="371" y="2357"/>
                  </a:lnTo>
                  <a:lnTo>
                    <a:pt x="270" y="1313"/>
                  </a:lnTo>
                  <a:lnTo>
                    <a:pt x="202" y="236"/>
                  </a:lnTo>
                  <a:lnTo>
                    <a:pt x="707" y="270"/>
                  </a:lnTo>
                  <a:lnTo>
                    <a:pt x="1246" y="270"/>
                  </a:lnTo>
                  <a:lnTo>
                    <a:pt x="2290" y="202"/>
                  </a:lnTo>
                  <a:close/>
                  <a:moveTo>
                    <a:pt x="2323" y="0"/>
                  </a:moveTo>
                  <a:lnTo>
                    <a:pt x="1785" y="34"/>
                  </a:lnTo>
                  <a:lnTo>
                    <a:pt x="707" y="34"/>
                  </a:lnTo>
                  <a:lnTo>
                    <a:pt x="169" y="68"/>
                  </a:lnTo>
                  <a:lnTo>
                    <a:pt x="101" y="101"/>
                  </a:lnTo>
                  <a:lnTo>
                    <a:pt x="101" y="169"/>
                  </a:lnTo>
                  <a:lnTo>
                    <a:pt x="68" y="169"/>
                  </a:lnTo>
                  <a:lnTo>
                    <a:pt x="34" y="202"/>
                  </a:lnTo>
                  <a:lnTo>
                    <a:pt x="0" y="808"/>
                  </a:lnTo>
                  <a:lnTo>
                    <a:pt x="34" y="1414"/>
                  </a:lnTo>
                  <a:lnTo>
                    <a:pt x="101" y="2020"/>
                  </a:lnTo>
                  <a:lnTo>
                    <a:pt x="202" y="2626"/>
                  </a:lnTo>
                  <a:lnTo>
                    <a:pt x="236" y="2660"/>
                  </a:lnTo>
                  <a:lnTo>
                    <a:pt x="303" y="2694"/>
                  </a:lnTo>
                  <a:lnTo>
                    <a:pt x="404" y="2660"/>
                  </a:lnTo>
                  <a:lnTo>
                    <a:pt x="404" y="2559"/>
                  </a:lnTo>
                  <a:lnTo>
                    <a:pt x="404" y="2492"/>
                  </a:lnTo>
                  <a:lnTo>
                    <a:pt x="876" y="2593"/>
                  </a:lnTo>
                  <a:lnTo>
                    <a:pt x="1852" y="2593"/>
                  </a:lnTo>
                  <a:lnTo>
                    <a:pt x="2088" y="2559"/>
                  </a:lnTo>
                  <a:lnTo>
                    <a:pt x="2290" y="2492"/>
                  </a:lnTo>
                  <a:lnTo>
                    <a:pt x="2357" y="2458"/>
                  </a:lnTo>
                  <a:lnTo>
                    <a:pt x="2357" y="2391"/>
                  </a:lnTo>
                  <a:lnTo>
                    <a:pt x="2424" y="2391"/>
                  </a:lnTo>
                  <a:lnTo>
                    <a:pt x="2458" y="2357"/>
                  </a:lnTo>
                  <a:lnTo>
                    <a:pt x="2492" y="2323"/>
                  </a:lnTo>
                  <a:lnTo>
                    <a:pt x="2492" y="1785"/>
                  </a:lnTo>
                  <a:lnTo>
                    <a:pt x="2492" y="1246"/>
                  </a:lnTo>
                  <a:lnTo>
                    <a:pt x="2458" y="707"/>
                  </a:lnTo>
                  <a:lnTo>
                    <a:pt x="2391" y="169"/>
                  </a:lnTo>
                  <a:lnTo>
                    <a:pt x="2424" y="101"/>
                  </a:lnTo>
                  <a:lnTo>
                    <a:pt x="2424" y="68"/>
                  </a:lnTo>
                  <a:lnTo>
                    <a:pt x="239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09" name="Google Shape;809;p5"/>
            <p:cNvSpPr/>
            <p:nvPr/>
          </p:nvSpPr>
          <p:spPr>
            <a:xfrm>
              <a:off x="1447692" y="514958"/>
              <a:ext cx="129190" cy="151012"/>
            </a:xfrm>
            <a:custGeom>
              <a:avLst/>
              <a:gdLst/>
              <a:ahLst/>
              <a:cxnLst/>
              <a:rect l="l" t="t" r="r" b="b"/>
              <a:pathLst>
                <a:path w="2593" h="3031" extrusionOk="0">
                  <a:moveTo>
                    <a:pt x="2424" y="1"/>
                  </a:moveTo>
                  <a:lnTo>
                    <a:pt x="2391" y="34"/>
                  </a:lnTo>
                  <a:lnTo>
                    <a:pt x="2357" y="68"/>
                  </a:lnTo>
                  <a:lnTo>
                    <a:pt x="2054" y="68"/>
                  </a:lnTo>
                  <a:lnTo>
                    <a:pt x="1785" y="102"/>
                  </a:lnTo>
                  <a:lnTo>
                    <a:pt x="1212" y="203"/>
                  </a:lnTo>
                  <a:lnTo>
                    <a:pt x="909" y="203"/>
                  </a:lnTo>
                  <a:lnTo>
                    <a:pt x="606" y="135"/>
                  </a:lnTo>
                  <a:lnTo>
                    <a:pt x="303" y="135"/>
                  </a:lnTo>
                  <a:lnTo>
                    <a:pt x="169" y="169"/>
                  </a:lnTo>
                  <a:lnTo>
                    <a:pt x="34" y="236"/>
                  </a:lnTo>
                  <a:lnTo>
                    <a:pt x="0" y="270"/>
                  </a:lnTo>
                  <a:lnTo>
                    <a:pt x="0" y="304"/>
                  </a:lnTo>
                  <a:lnTo>
                    <a:pt x="68" y="338"/>
                  </a:lnTo>
                  <a:lnTo>
                    <a:pt x="303" y="371"/>
                  </a:lnTo>
                  <a:lnTo>
                    <a:pt x="539" y="405"/>
                  </a:lnTo>
                  <a:lnTo>
                    <a:pt x="1044" y="439"/>
                  </a:lnTo>
                  <a:lnTo>
                    <a:pt x="1381" y="439"/>
                  </a:lnTo>
                  <a:lnTo>
                    <a:pt x="1684" y="371"/>
                  </a:lnTo>
                  <a:lnTo>
                    <a:pt x="2020" y="304"/>
                  </a:lnTo>
                  <a:lnTo>
                    <a:pt x="2357" y="304"/>
                  </a:lnTo>
                  <a:lnTo>
                    <a:pt x="2323" y="809"/>
                  </a:lnTo>
                  <a:lnTo>
                    <a:pt x="2357" y="1314"/>
                  </a:lnTo>
                  <a:lnTo>
                    <a:pt x="2357" y="1954"/>
                  </a:lnTo>
                  <a:lnTo>
                    <a:pt x="2357" y="2290"/>
                  </a:lnTo>
                  <a:lnTo>
                    <a:pt x="2424" y="2627"/>
                  </a:lnTo>
                  <a:lnTo>
                    <a:pt x="2357" y="2593"/>
                  </a:lnTo>
                  <a:lnTo>
                    <a:pt x="1751" y="2661"/>
                  </a:lnTo>
                  <a:lnTo>
                    <a:pt x="1111" y="2728"/>
                  </a:lnTo>
                  <a:lnTo>
                    <a:pt x="606" y="2795"/>
                  </a:lnTo>
                  <a:lnTo>
                    <a:pt x="337" y="2863"/>
                  </a:lnTo>
                  <a:lnTo>
                    <a:pt x="101" y="2964"/>
                  </a:lnTo>
                  <a:lnTo>
                    <a:pt x="371" y="3031"/>
                  </a:lnTo>
                  <a:lnTo>
                    <a:pt x="606" y="2997"/>
                  </a:lnTo>
                  <a:lnTo>
                    <a:pt x="1111" y="2930"/>
                  </a:lnTo>
                  <a:lnTo>
                    <a:pt x="1751" y="2863"/>
                  </a:lnTo>
                  <a:lnTo>
                    <a:pt x="2357" y="2795"/>
                  </a:lnTo>
                  <a:lnTo>
                    <a:pt x="2424" y="2762"/>
                  </a:lnTo>
                  <a:lnTo>
                    <a:pt x="2458" y="2728"/>
                  </a:lnTo>
                  <a:lnTo>
                    <a:pt x="2458" y="2762"/>
                  </a:lnTo>
                  <a:lnTo>
                    <a:pt x="2525" y="2762"/>
                  </a:lnTo>
                  <a:lnTo>
                    <a:pt x="2559" y="2728"/>
                  </a:lnTo>
                  <a:lnTo>
                    <a:pt x="2593" y="2425"/>
                  </a:lnTo>
                  <a:lnTo>
                    <a:pt x="2593" y="2122"/>
                  </a:lnTo>
                  <a:lnTo>
                    <a:pt x="2593" y="1516"/>
                  </a:lnTo>
                  <a:lnTo>
                    <a:pt x="2559" y="775"/>
                  </a:lnTo>
                  <a:lnTo>
                    <a:pt x="2559" y="439"/>
                  </a:lnTo>
                  <a:lnTo>
                    <a:pt x="2492" y="68"/>
                  </a:lnTo>
                  <a:lnTo>
                    <a:pt x="2492" y="34"/>
                  </a:lnTo>
                  <a:lnTo>
                    <a:pt x="242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0" name="Google Shape;810;p5"/>
            <p:cNvSpPr/>
            <p:nvPr/>
          </p:nvSpPr>
          <p:spPr>
            <a:xfrm>
              <a:off x="578788" y="536780"/>
              <a:ext cx="682768" cy="164414"/>
            </a:xfrm>
            <a:custGeom>
              <a:avLst/>
              <a:gdLst/>
              <a:ahLst/>
              <a:cxnLst/>
              <a:rect l="l" t="t" r="r" b="b"/>
              <a:pathLst>
                <a:path w="13704" h="3300" extrusionOk="0">
                  <a:moveTo>
                    <a:pt x="13366" y="337"/>
                  </a:moveTo>
                  <a:lnTo>
                    <a:pt x="13366" y="674"/>
                  </a:lnTo>
                  <a:lnTo>
                    <a:pt x="13366" y="1011"/>
                  </a:lnTo>
                  <a:lnTo>
                    <a:pt x="13434" y="2593"/>
                  </a:lnTo>
                  <a:lnTo>
                    <a:pt x="13400" y="2559"/>
                  </a:lnTo>
                  <a:lnTo>
                    <a:pt x="13030" y="2492"/>
                  </a:lnTo>
                  <a:lnTo>
                    <a:pt x="12659" y="2458"/>
                  </a:lnTo>
                  <a:lnTo>
                    <a:pt x="11986" y="2458"/>
                  </a:lnTo>
                  <a:lnTo>
                    <a:pt x="11279" y="2526"/>
                  </a:lnTo>
                  <a:lnTo>
                    <a:pt x="10572" y="2627"/>
                  </a:lnTo>
                  <a:lnTo>
                    <a:pt x="9697" y="2728"/>
                  </a:lnTo>
                  <a:lnTo>
                    <a:pt x="8855" y="2795"/>
                  </a:lnTo>
                  <a:lnTo>
                    <a:pt x="7171" y="2862"/>
                  </a:lnTo>
                  <a:lnTo>
                    <a:pt x="5488" y="2896"/>
                  </a:lnTo>
                  <a:lnTo>
                    <a:pt x="3805" y="2930"/>
                  </a:lnTo>
                  <a:lnTo>
                    <a:pt x="2088" y="2963"/>
                  </a:lnTo>
                  <a:lnTo>
                    <a:pt x="1246" y="2997"/>
                  </a:lnTo>
                  <a:lnTo>
                    <a:pt x="438" y="3064"/>
                  </a:lnTo>
                  <a:lnTo>
                    <a:pt x="404" y="2761"/>
                  </a:lnTo>
                  <a:lnTo>
                    <a:pt x="371" y="2425"/>
                  </a:lnTo>
                  <a:lnTo>
                    <a:pt x="270" y="1751"/>
                  </a:lnTo>
                  <a:lnTo>
                    <a:pt x="202" y="1145"/>
                  </a:lnTo>
                  <a:lnTo>
                    <a:pt x="135" y="842"/>
                  </a:lnTo>
                  <a:lnTo>
                    <a:pt x="68" y="573"/>
                  </a:lnTo>
                  <a:lnTo>
                    <a:pt x="1751" y="573"/>
                  </a:lnTo>
                  <a:lnTo>
                    <a:pt x="3434" y="539"/>
                  </a:lnTo>
                  <a:lnTo>
                    <a:pt x="6801" y="438"/>
                  </a:lnTo>
                  <a:lnTo>
                    <a:pt x="13366" y="337"/>
                  </a:lnTo>
                  <a:close/>
                  <a:moveTo>
                    <a:pt x="13467" y="1"/>
                  </a:moveTo>
                  <a:lnTo>
                    <a:pt x="13400" y="68"/>
                  </a:lnTo>
                  <a:lnTo>
                    <a:pt x="6801" y="236"/>
                  </a:lnTo>
                  <a:lnTo>
                    <a:pt x="3434" y="270"/>
                  </a:lnTo>
                  <a:lnTo>
                    <a:pt x="1751" y="304"/>
                  </a:lnTo>
                  <a:lnTo>
                    <a:pt x="68" y="371"/>
                  </a:lnTo>
                  <a:lnTo>
                    <a:pt x="34" y="405"/>
                  </a:lnTo>
                  <a:lnTo>
                    <a:pt x="0" y="438"/>
                  </a:lnTo>
                  <a:lnTo>
                    <a:pt x="0" y="506"/>
                  </a:lnTo>
                  <a:lnTo>
                    <a:pt x="0" y="842"/>
                  </a:lnTo>
                  <a:lnTo>
                    <a:pt x="0" y="1145"/>
                  </a:lnTo>
                  <a:lnTo>
                    <a:pt x="68" y="1751"/>
                  </a:lnTo>
                  <a:lnTo>
                    <a:pt x="135" y="2526"/>
                  </a:lnTo>
                  <a:lnTo>
                    <a:pt x="169" y="2896"/>
                  </a:lnTo>
                  <a:lnTo>
                    <a:pt x="270" y="3266"/>
                  </a:lnTo>
                  <a:lnTo>
                    <a:pt x="303" y="3300"/>
                  </a:lnTo>
                  <a:lnTo>
                    <a:pt x="337" y="3300"/>
                  </a:lnTo>
                  <a:lnTo>
                    <a:pt x="404" y="3266"/>
                  </a:lnTo>
                  <a:lnTo>
                    <a:pt x="404" y="3233"/>
                  </a:lnTo>
                  <a:lnTo>
                    <a:pt x="1212" y="3266"/>
                  </a:lnTo>
                  <a:lnTo>
                    <a:pt x="2054" y="3266"/>
                  </a:lnTo>
                  <a:lnTo>
                    <a:pt x="3670" y="3233"/>
                  </a:lnTo>
                  <a:lnTo>
                    <a:pt x="6936" y="3098"/>
                  </a:lnTo>
                  <a:lnTo>
                    <a:pt x="8518" y="3031"/>
                  </a:lnTo>
                  <a:lnTo>
                    <a:pt x="9326" y="2997"/>
                  </a:lnTo>
                  <a:lnTo>
                    <a:pt x="10101" y="2930"/>
                  </a:lnTo>
                  <a:lnTo>
                    <a:pt x="10909" y="2829"/>
                  </a:lnTo>
                  <a:lnTo>
                    <a:pt x="11717" y="2728"/>
                  </a:lnTo>
                  <a:lnTo>
                    <a:pt x="12525" y="2728"/>
                  </a:lnTo>
                  <a:lnTo>
                    <a:pt x="12929" y="2761"/>
                  </a:lnTo>
                  <a:lnTo>
                    <a:pt x="13333" y="2795"/>
                  </a:lnTo>
                  <a:lnTo>
                    <a:pt x="13434" y="2795"/>
                  </a:lnTo>
                  <a:lnTo>
                    <a:pt x="13467" y="2694"/>
                  </a:lnTo>
                  <a:lnTo>
                    <a:pt x="13535" y="2728"/>
                  </a:lnTo>
                  <a:lnTo>
                    <a:pt x="13602" y="2728"/>
                  </a:lnTo>
                  <a:lnTo>
                    <a:pt x="13669" y="2660"/>
                  </a:lnTo>
                  <a:lnTo>
                    <a:pt x="13703" y="2593"/>
                  </a:lnTo>
                  <a:lnTo>
                    <a:pt x="13636" y="1179"/>
                  </a:lnTo>
                  <a:lnTo>
                    <a:pt x="13636" y="741"/>
                  </a:lnTo>
                  <a:lnTo>
                    <a:pt x="13636" y="539"/>
                  </a:lnTo>
                  <a:lnTo>
                    <a:pt x="13602" y="304"/>
                  </a:lnTo>
                  <a:lnTo>
                    <a:pt x="13636" y="270"/>
                  </a:lnTo>
                  <a:lnTo>
                    <a:pt x="13669" y="169"/>
                  </a:lnTo>
                  <a:lnTo>
                    <a:pt x="13602" y="102"/>
                  </a:lnTo>
                  <a:lnTo>
                    <a:pt x="13535" y="68"/>
                  </a:lnTo>
                  <a:lnTo>
                    <a:pt x="13501" y="68"/>
                  </a:lnTo>
                  <a:lnTo>
                    <a:pt x="1346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1" name="Google Shape;811;p5"/>
            <p:cNvSpPr/>
            <p:nvPr/>
          </p:nvSpPr>
          <p:spPr>
            <a:xfrm>
              <a:off x="1454369" y="409284"/>
              <a:ext cx="35274" cy="31936"/>
            </a:xfrm>
            <a:custGeom>
              <a:avLst/>
              <a:gdLst/>
              <a:ahLst/>
              <a:cxnLst/>
              <a:rect l="l" t="t" r="r" b="b"/>
              <a:pathLst>
                <a:path w="708" h="641" extrusionOk="0">
                  <a:moveTo>
                    <a:pt x="68" y="1"/>
                  </a:moveTo>
                  <a:lnTo>
                    <a:pt x="1" y="34"/>
                  </a:lnTo>
                  <a:lnTo>
                    <a:pt x="1" y="68"/>
                  </a:lnTo>
                  <a:lnTo>
                    <a:pt x="35" y="102"/>
                  </a:lnTo>
                  <a:lnTo>
                    <a:pt x="169" y="203"/>
                  </a:lnTo>
                  <a:lnTo>
                    <a:pt x="371" y="270"/>
                  </a:lnTo>
                  <a:lnTo>
                    <a:pt x="102" y="472"/>
                  </a:lnTo>
                  <a:lnTo>
                    <a:pt x="68" y="539"/>
                  </a:lnTo>
                  <a:lnTo>
                    <a:pt x="102" y="607"/>
                  </a:lnTo>
                  <a:lnTo>
                    <a:pt x="169" y="640"/>
                  </a:lnTo>
                  <a:lnTo>
                    <a:pt x="237" y="640"/>
                  </a:lnTo>
                  <a:lnTo>
                    <a:pt x="439" y="472"/>
                  </a:lnTo>
                  <a:lnTo>
                    <a:pt x="641" y="304"/>
                  </a:lnTo>
                  <a:lnTo>
                    <a:pt x="674" y="270"/>
                  </a:lnTo>
                  <a:lnTo>
                    <a:pt x="708" y="203"/>
                  </a:lnTo>
                  <a:lnTo>
                    <a:pt x="674" y="169"/>
                  </a:lnTo>
                  <a:lnTo>
                    <a:pt x="607" y="135"/>
                  </a:lnTo>
                  <a:lnTo>
                    <a:pt x="338" y="34"/>
                  </a:lnTo>
                  <a:lnTo>
                    <a:pt x="20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2" name="Google Shape;812;p5"/>
            <p:cNvSpPr/>
            <p:nvPr/>
          </p:nvSpPr>
          <p:spPr>
            <a:xfrm>
              <a:off x="50" y="439477"/>
              <a:ext cx="139304" cy="130884"/>
            </a:xfrm>
            <a:custGeom>
              <a:avLst/>
              <a:gdLst/>
              <a:ahLst/>
              <a:cxnLst/>
              <a:rect l="l" t="t" r="r" b="b"/>
              <a:pathLst>
                <a:path w="2796" h="2627" extrusionOk="0">
                  <a:moveTo>
                    <a:pt x="2627" y="1"/>
                  </a:moveTo>
                  <a:lnTo>
                    <a:pt x="2593" y="34"/>
                  </a:lnTo>
                  <a:lnTo>
                    <a:pt x="2560" y="68"/>
                  </a:lnTo>
                  <a:lnTo>
                    <a:pt x="2492" y="236"/>
                  </a:lnTo>
                  <a:lnTo>
                    <a:pt x="1819" y="169"/>
                  </a:lnTo>
                  <a:lnTo>
                    <a:pt x="1145" y="135"/>
                  </a:lnTo>
                  <a:lnTo>
                    <a:pt x="573" y="135"/>
                  </a:lnTo>
                  <a:lnTo>
                    <a:pt x="1" y="169"/>
                  </a:lnTo>
                  <a:lnTo>
                    <a:pt x="1" y="371"/>
                  </a:lnTo>
                  <a:lnTo>
                    <a:pt x="1684" y="371"/>
                  </a:lnTo>
                  <a:lnTo>
                    <a:pt x="2458" y="405"/>
                  </a:lnTo>
                  <a:lnTo>
                    <a:pt x="2425" y="876"/>
                  </a:lnTo>
                  <a:lnTo>
                    <a:pt x="2458" y="1347"/>
                  </a:lnTo>
                  <a:lnTo>
                    <a:pt x="2526" y="2257"/>
                  </a:lnTo>
                  <a:lnTo>
                    <a:pt x="1953" y="2324"/>
                  </a:lnTo>
                  <a:lnTo>
                    <a:pt x="1179" y="2358"/>
                  </a:lnTo>
                  <a:lnTo>
                    <a:pt x="472" y="2391"/>
                  </a:lnTo>
                  <a:lnTo>
                    <a:pt x="169" y="2358"/>
                  </a:lnTo>
                  <a:lnTo>
                    <a:pt x="1" y="2324"/>
                  </a:lnTo>
                  <a:lnTo>
                    <a:pt x="1" y="2492"/>
                  </a:lnTo>
                  <a:lnTo>
                    <a:pt x="640" y="2593"/>
                  </a:lnTo>
                  <a:lnTo>
                    <a:pt x="1314" y="2627"/>
                  </a:lnTo>
                  <a:lnTo>
                    <a:pt x="1987" y="2560"/>
                  </a:lnTo>
                  <a:lnTo>
                    <a:pt x="2627" y="2459"/>
                  </a:lnTo>
                  <a:lnTo>
                    <a:pt x="2728" y="2459"/>
                  </a:lnTo>
                  <a:lnTo>
                    <a:pt x="2795" y="2391"/>
                  </a:lnTo>
                  <a:lnTo>
                    <a:pt x="2795" y="2324"/>
                  </a:lnTo>
                  <a:lnTo>
                    <a:pt x="2728" y="1718"/>
                  </a:lnTo>
                  <a:lnTo>
                    <a:pt x="2694" y="1112"/>
                  </a:lnTo>
                  <a:lnTo>
                    <a:pt x="2728" y="573"/>
                  </a:lnTo>
                  <a:lnTo>
                    <a:pt x="2728" y="337"/>
                  </a:lnTo>
                  <a:lnTo>
                    <a:pt x="2694" y="68"/>
                  </a:lnTo>
                  <a:lnTo>
                    <a:pt x="2661" y="34"/>
                  </a:lnTo>
                  <a:lnTo>
                    <a:pt x="262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3" name="Google Shape;813;p5"/>
            <p:cNvSpPr/>
            <p:nvPr/>
          </p:nvSpPr>
          <p:spPr>
            <a:xfrm>
              <a:off x="261718" y="-7"/>
              <a:ext cx="120869" cy="20178"/>
            </a:xfrm>
            <a:custGeom>
              <a:avLst/>
              <a:gdLst/>
              <a:ahLst/>
              <a:cxnLst/>
              <a:rect l="l" t="t" r="r" b="b"/>
              <a:pathLst>
                <a:path w="2426" h="405" extrusionOk="0">
                  <a:moveTo>
                    <a:pt x="2189" y="1"/>
                  </a:moveTo>
                  <a:lnTo>
                    <a:pt x="2223" y="169"/>
                  </a:lnTo>
                  <a:lnTo>
                    <a:pt x="1684" y="169"/>
                  </a:lnTo>
                  <a:lnTo>
                    <a:pt x="1112" y="203"/>
                  </a:lnTo>
                  <a:lnTo>
                    <a:pt x="540" y="169"/>
                  </a:lnTo>
                  <a:lnTo>
                    <a:pt x="270" y="169"/>
                  </a:lnTo>
                  <a:lnTo>
                    <a:pt x="1" y="236"/>
                  </a:lnTo>
                  <a:lnTo>
                    <a:pt x="237" y="304"/>
                  </a:lnTo>
                  <a:lnTo>
                    <a:pt x="472" y="337"/>
                  </a:lnTo>
                  <a:lnTo>
                    <a:pt x="977" y="371"/>
                  </a:lnTo>
                  <a:lnTo>
                    <a:pt x="1651" y="405"/>
                  </a:lnTo>
                  <a:lnTo>
                    <a:pt x="1954" y="371"/>
                  </a:lnTo>
                  <a:lnTo>
                    <a:pt x="2290" y="270"/>
                  </a:lnTo>
                  <a:lnTo>
                    <a:pt x="2358" y="270"/>
                  </a:lnTo>
                  <a:lnTo>
                    <a:pt x="2391" y="236"/>
                  </a:lnTo>
                  <a:lnTo>
                    <a:pt x="2425" y="203"/>
                  </a:lnTo>
                  <a:lnTo>
                    <a:pt x="239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4" name="Google Shape;814;p5"/>
            <p:cNvSpPr/>
            <p:nvPr/>
          </p:nvSpPr>
          <p:spPr>
            <a:xfrm>
              <a:off x="50" y="578731"/>
              <a:ext cx="107417" cy="139254"/>
            </a:xfrm>
            <a:custGeom>
              <a:avLst/>
              <a:gdLst/>
              <a:ahLst/>
              <a:cxnLst/>
              <a:rect l="l" t="t" r="r" b="b"/>
              <a:pathLst>
                <a:path w="2156" h="2795" extrusionOk="0">
                  <a:moveTo>
                    <a:pt x="1583" y="0"/>
                  </a:moveTo>
                  <a:lnTo>
                    <a:pt x="1179" y="34"/>
                  </a:lnTo>
                  <a:lnTo>
                    <a:pt x="607" y="68"/>
                  </a:lnTo>
                  <a:lnTo>
                    <a:pt x="304" y="68"/>
                  </a:lnTo>
                  <a:lnTo>
                    <a:pt x="1" y="101"/>
                  </a:lnTo>
                  <a:lnTo>
                    <a:pt x="1" y="270"/>
                  </a:lnTo>
                  <a:lnTo>
                    <a:pt x="741" y="270"/>
                  </a:lnTo>
                  <a:lnTo>
                    <a:pt x="1785" y="202"/>
                  </a:lnTo>
                  <a:lnTo>
                    <a:pt x="1819" y="236"/>
                  </a:lnTo>
                  <a:lnTo>
                    <a:pt x="1886" y="236"/>
                  </a:lnTo>
                  <a:lnTo>
                    <a:pt x="1886" y="270"/>
                  </a:lnTo>
                  <a:lnTo>
                    <a:pt x="1920" y="236"/>
                  </a:lnTo>
                  <a:lnTo>
                    <a:pt x="1886" y="573"/>
                  </a:lnTo>
                  <a:lnTo>
                    <a:pt x="1886" y="909"/>
                  </a:lnTo>
                  <a:lnTo>
                    <a:pt x="1920" y="1684"/>
                  </a:lnTo>
                  <a:lnTo>
                    <a:pt x="1953" y="2458"/>
                  </a:lnTo>
                  <a:lnTo>
                    <a:pt x="1482" y="2458"/>
                  </a:lnTo>
                  <a:lnTo>
                    <a:pt x="1011" y="2492"/>
                  </a:lnTo>
                  <a:lnTo>
                    <a:pt x="506" y="2492"/>
                  </a:lnTo>
                  <a:lnTo>
                    <a:pt x="236" y="2525"/>
                  </a:lnTo>
                  <a:lnTo>
                    <a:pt x="102" y="2559"/>
                  </a:lnTo>
                  <a:lnTo>
                    <a:pt x="1" y="2593"/>
                  </a:lnTo>
                  <a:lnTo>
                    <a:pt x="1" y="2727"/>
                  </a:lnTo>
                  <a:lnTo>
                    <a:pt x="102" y="2761"/>
                  </a:lnTo>
                  <a:lnTo>
                    <a:pt x="203" y="2795"/>
                  </a:lnTo>
                  <a:lnTo>
                    <a:pt x="438" y="2795"/>
                  </a:lnTo>
                  <a:lnTo>
                    <a:pt x="876" y="2761"/>
                  </a:lnTo>
                  <a:lnTo>
                    <a:pt x="1415" y="2761"/>
                  </a:lnTo>
                  <a:lnTo>
                    <a:pt x="1718" y="2727"/>
                  </a:lnTo>
                  <a:lnTo>
                    <a:pt x="1987" y="2694"/>
                  </a:lnTo>
                  <a:lnTo>
                    <a:pt x="2021" y="2727"/>
                  </a:lnTo>
                  <a:lnTo>
                    <a:pt x="2088" y="2727"/>
                  </a:lnTo>
                  <a:lnTo>
                    <a:pt x="2155" y="2694"/>
                  </a:lnTo>
                  <a:lnTo>
                    <a:pt x="2155" y="2626"/>
                  </a:lnTo>
                  <a:lnTo>
                    <a:pt x="2088" y="1078"/>
                  </a:lnTo>
                  <a:lnTo>
                    <a:pt x="2088" y="539"/>
                  </a:lnTo>
                  <a:lnTo>
                    <a:pt x="2088" y="303"/>
                  </a:lnTo>
                  <a:lnTo>
                    <a:pt x="2021" y="68"/>
                  </a:lnTo>
                  <a:lnTo>
                    <a:pt x="2021" y="34"/>
                  </a:lnTo>
                  <a:lnTo>
                    <a:pt x="1987" y="68"/>
                  </a:lnTo>
                  <a:lnTo>
                    <a:pt x="1987" y="101"/>
                  </a:lnTo>
                  <a:lnTo>
                    <a:pt x="1953" y="68"/>
                  </a:lnTo>
                  <a:lnTo>
                    <a:pt x="1886" y="34"/>
                  </a:lnTo>
                  <a:lnTo>
                    <a:pt x="178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5" name="Google Shape;815;p5"/>
            <p:cNvSpPr/>
            <p:nvPr/>
          </p:nvSpPr>
          <p:spPr>
            <a:xfrm>
              <a:off x="154400" y="432801"/>
              <a:ext cx="124158" cy="134222"/>
            </a:xfrm>
            <a:custGeom>
              <a:avLst/>
              <a:gdLst/>
              <a:ahLst/>
              <a:cxnLst/>
              <a:rect l="l" t="t" r="r" b="b"/>
              <a:pathLst>
                <a:path w="2492" h="2694" extrusionOk="0">
                  <a:moveTo>
                    <a:pt x="2290" y="202"/>
                  </a:moveTo>
                  <a:lnTo>
                    <a:pt x="2222" y="707"/>
                  </a:lnTo>
                  <a:lnTo>
                    <a:pt x="2189" y="1246"/>
                  </a:lnTo>
                  <a:lnTo>
                    <a:pt x="2222" y="1784"/>
                  </a:lnTo>
                  <a:lnTo>
                    <a:pt x="2290" y="2323"/>
                  </a:lnTo>
                  <a:lnTo>
                    <a:pt x="1818" y="2323"/>
                  </a:lnTo>
                  <a:lnTo>
                    <a:pt x="1347" y="2357"/>
                  </a:lnTo>
                  <a:lnTo>
                    <a:pt x="371" y="2357"/>
                  </a:lnTo>
                  <a:lnTo>
                    <a:pt x="270" y="1279"/>
                  </a:lnTo>
                  <a:lnTo>
                    <a:pt x="169" y="236"/>
                  </a:lnTo>
                  <a:lnTo>
                    <a:pt x="707" y="269"/>
                  </a:lnTo>
                  <a:lnTo>
                    <a:pt x="1246" y="269"/>
                  </a:lnTo>
                  <a:lnTo>
                    <a:pt x="2290" y="202"/>
                  </a:lnTo>
                  <a:close/>
                  <a:moveTo>
                    <a:pt x="1751" y="0"/>
                  </a:moveTo>
                  <a:lnTo>
                    <a:pt x="1212" y="34"/>
                  </a:lnTo>
                  <a:lnTo>
                    <a:pt x="674" y="34"/>
                  </a:lnTo>
                  <a:lnTo>
                    <a:pt x="135" y="67"/>
                  </a:lnTo>
                  <a:lnTo>
                    <a:pt x="101" y="101"/>
                  </a:lnTo>
                  <a:lnTo>
                    <a:pt x="68" y="135"/>
                  </a:lnTo>
                  <a:lnTo>
                    <a:pt x="34" y="168"/>
                  </a:lnTo>
                  <a:lnTo>
                    <a:pt x="34" y="202"/>
                  </a:lnTo>
                  <a:lnTo>
                    <a:pt x="0" y="808"/>
                  </a:lnTo>
                  <a:lnTo>
                    <a:pt x="0" y="1414"/>
                  </a:lnTo>
                  <a:lnTo>
                    <a:pt x="68" y="2020"/>
                  </a:lnTo>
                  <a:lnTo>
                    <a:pt x="169" y="2626"/>
                  </a:lnTo>
                  <a:lnTo>
                    <a:pt x="236" y="2660"/>
                  </a:lnTo>
                  <a:lnTo>
                    <a:pt x="303" y="2694"/>
                  </a:lnTo>
                  <a:lnTo>
                    <a:pt x="371" y="2660"/>
                  </a:lnTo>
                  <a:lnTo>
                    <a:pt x="404" y="2559"/>
                  </a:lnTo>
                  <a:lnTo>
                    <a:pt x="371" y="2492"/>
                  </a:lnTo>
                  <a:lnTo>
                    <a:pt x="842" y="2559"/>
                  </a:lnTo>
                  <a:lnTo>
                    <a:pt x="1347" y="2593"/>
                  </a:lnTo>
                  <a:lnTo>
                    <a:pt x="1818" y="2593"/>
                  </a:lnTo>
                  <a:lnTo>
                    <a:pt x="2054" y="2559"/>
                  </a:lnTo>
                  <a:lnTo>
                    <a:pt x="2290" y="2492"/>
                  </a:lnTo>
                  <a:lnTo>
                    <a:pt x="2323" y="2458"/>
                  </a:lnTo>
                  <a:lnTo>
                    <a:pt x="2323" y="2391"/>
                  </a:lnTo>
                  <a:lnTo>
                    <a:pt x="2424" y="2391"/>
                  </a:lnTo>
                  <a:lnTo>
                    <a:pt x="2458" y="2357"/>
                  </a:lnTo>
                  <a:lnTo>
                    <a:pt x="2458" y="2290"/>
                  </a:lnTo>
                  <a:lnTo>
                    <a:pt x="2492" y="1784"/>
                  </a:lnTo>
                  <a:lnTo>
                    <a:pt x="2458" y="1246"/>
                  </a:lnTo>
                  <a:lnTo>
                    <a:pt x="2424" y="707"/>
                  </a:lnTo>
                  <a:lnTo>
                    <a:pt x="2357" y="168"/>
                  </a:lnTo>
                  <a:lnTo>
                    <a:pt x="2391" y="101"/>
                  </a:lnTo>
                  <a:lnTo>
                    <a:pt x="2391" y="67"/>
                  </a:lnTo>
                  <a:lnTo>
                    <a:pt x="2357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6" name="Google Shape;816;p5"/>
            <p:cNvSpPr/>
            <p:nvPr/>
          </p:nvSpPr>
          <p:spPr>
            <a:xfrm>
              <a:off x="1585252" y="248258"/>
              <a:ext cx="13452" cy="115787"/>
            </a:xfrm>
            <a:custGeom>
              <a:avLst/>
              <a:gdLst/>
              <a:ahLst/>
              <a:cxnLst/>
              <a:rect l="l" t="t" r="r" b="b"/>
              <a:pathLst>
                <a:path w="270" h="2324" extrusionOk="0">
                  <a:moveTo>
                    <a:pt x="67" y="1"/>
                  </a:moveTo>
                  <a:lnTo>
                    <a:pt x="34" y="34"/>
                  </a:lnTo>
                  <a:lnTo>
                    <a:pt x="34" y="304"/>
                  </a:lnTo>
                  <a:lnTo>
                    <a:pt x="34" y="539"/>
                  </a:lnTo>
                  <a:lnTo>
                    <a:pt x="34" y="1078"/>
                  </a:lnTo>
                  <a:lnTo>
                    <a:pt x="0" y="1684"/>
                  </a:lnTo>
                  <a:lnTo>
                    <a:pt x="0" y="1987"/>
                  </a:lnTo>
                  <a:lnTo>
                    <a:pt x="34" y="2256"/>
                  </a:lnTo>
                  <a:lnTo>
                    <a:pt x="67" y="2324"/>
                  </a:lnTo>
                  <a:lnTo>
                    <a:pt x="168" y="2324"/>
                  </a:lnTo>
                  <a:lnTo>
                    <a:pt x="202" y="2290"/>
                  </a:lnTo>
                  <a:lnTo>
                    <a:pt x="236" y="1987"/>
                  </a:lnTo>
                  <a:lnTo>
                    <a:pt x="269" y="1684"/>
                  </a:lnTo>
                  <a:lnTo>
                    <a:pt x="236" y="1078"/>
                  </a:lnTo>
                  <a:lnTo>
                    <a:pt x="236" y="539"/>
                  </a:lnTo>
                  <a:lnTo>
                    <a:pt x="202" y="270"/>
                  </a:lnTo>
                  <a:lnTo>
                    <a:pt x="135" y="34"/>
                  </a:lnTo>
                  <a:lnTo>
                    <a:pt x="13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7" name="Google Shape;817;p5"/>
            <p:cNvSpPr/>
            <p:nvPr/>
          </p:nvSpPr>
          <p:spPr>
            <a:xfrm>
              <a:off x="538531" y="325433"/>
              <a:ext cx="36918" cy="52065"/>
            </a:xfrm>
            <a:custGeom>
              <a:avLst/>
              <a:gdLst/>
              <a:ahLst/>
              <a:cxnLst/>
              <a:rect l="l" t="t" r="r" b="b"/>
              <a:pathLst>
                <a:path w="741" h="1045" extrusionOk="0">
                  <a:moveTo>
                    <a:pt x="438" y="270"/>
                  </a:moveTo>
                  <a:lnTo>
                    <a:pt x="539" y="303"/>
                  </a:lnTo>
                  <a:lnTo>
                    <a:pt x="573" y="371"/>
                  </a:lnTo>
                  <a:lnTo>
                    <a:pt x="606" y="438"/>
                  </a:lnTo>
                  <a:lnTo>
                    <a:pt x="606" y="606"/>
                  </a:lnTo>
                  <a:lnTo>
                    <a:pt x="539" y="674"/>
                  </a:lnTo>
                  <a:lnTo>
                    <a:pt x="505" y="741"/>
                  </a:lnTo>
                  <a:lnTo>
                    <a:pt x="337" y="842"/>
                  </a:lnTo>
                  <a:lnTo>
                    <a:pt x="303" y="842"/>
                  </a:lnTo>
                  <a:lnTo>
                    <a:pt x="270" y="472"/>
                  </a:lnTo>
                  <a:lnTo>
                    <a:pt x="303" y="270"/>
                  </a:lnTo>
                  <a:lnTo>
                    <a:pt x="337" y="303"/>
                  </a:lnTo>
                  <a:lnTo>
                    <a:pt x="438" y="270"/>
                  </a:lnTo>
                  <a:close/>
                  <a:moveTo>
                    <a:pt x="270" y="0"/>
                  </a:moveTo>
                  <a:lnTo>
                    <a:pt x="270" y="34"/>
                  </a:lnTo>
                  <a:lnTo>
                    <a:pt x="202" y="101"/>
                  </a:lnTo>
                  <a:lnTo>
                    <a:pt x="135" y="202"/>
                  </a:lnTo>
                  <a:lnTo>
                    <a:pt x="101" y="404"/>
                  </a:lnTo>
                  <a:lnTo>
                    <a:pt x="101" y="640"/>
                  </a:lnTo>
                  <a:lnTo>
                    <a:pt x="135" y="876"/>
                  </a:lnTo>
                  <a:lnTo>
                    <a:pt x="34" y="876"/>
                  </a:lnTo>
                  <a:lnTo>
                    <a:pt x="0" y="909"/>
                  </a:lnTo>
                  <a:lnTo>
                    <a:pt x="0" y="943"/>
                  </a:lnTo>
                  <a:lnTo>
                    <a:pt x="0" y="1010"/>
                  </a:lnTo>
                  <a:lnTo>
                    <a:pt x="34" y="1010"/>
                  </a:lnTo>
                  <a:lnTo>
                    <a:pt x="135" y="1044"/>
                  </a:lnTo>
                  <a:lnTo>
                    <a:pt x="236" y="1044"/>
                  </a:lnTo>
                  <a:lnTo>
                    <a:pt x="337" y="1010"/>
                  </a:lnTo>
                  <a:lnTo>
                    <a:pt x="438" y="977"/>
                  </a:lnTo>
                  <a:lnTo>
                    <a:pt x="606" y="808"/>
                  </a:lnTo>
                  <a:lnTo>
                    <a:pt x="741" y="640"/>
                  </a:lnTo>
                  <a:lnTo>
                    <a:pt x="741" y="539"/>
                  </a:lnTo>
                  <a:lnTo>
                    <a:pt x="741" y="438"/>
                  </a:lnTo>
                  <a:lnTo>
                    <a:pt x="707" y="337"/>
                  </a:lnTo>
                  <a:lnTo>
                    <a:pt x="674" y="236"/>
                  </a:lnTo>
                  <a:lnTo>
                    <a:pt x="606" y="169"/>
                  </a:lnTo>
                  <a:lnTo>
                    <a:pt x="303" y="169"/>
                  </a:lnTo>
                  <a:lnTo>
                    <a:pt x="303" y="3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8" name="Google Shape;818;p5"/>
            <p:cNvSpPr/>
            <p:nvPr/>
          </p:nvSpPr>
          <p:spPr>
            <a:xfrm>
              <a:off x="260073" y="566973"/>
              <a:ext cx="125852" cy="137610"/>
            </a:xfrm>
            <a:custGeom>
              <a:avLst/>
              <a:gdLst/>
              <a:ahLst/>
              <a:cxnLst/>
              <a:rect l="l" t="t" r="r" b="b"/>
              <a:pathLst>
                <a:path w="2526" h="2762" extrusionOk="0">
                  <a:moveTo>
                    <a:pt x="2256" y="236"/>
                  </a:moveTo>
                  <a:lnTo>
                    <a:pt x="2256" y="640"/>
                  </a:lnTo>
                  <a:lnTo>
                    <a:pt x="2290" y="1078"/>
                  </a:lnTo>
                  <a:lnTo>
                    <a:pt x="2290" y="1785"/>
                  </a:lnTo>
                  <a:lnTo>
                    <a:pt x="2323" y="2492"/>
                  </a:lnTo>
                  <a:lnTo>
                    <a:pt x="1448" y="2492"/>
                  </a:lnTo>
                  <a:lnTo>
                    <a:pt x="909" y="2526"/>
                  </a:lnTo>
                  <a:lnTo>
                    <a:pt x="640" y="2559"/>
                  </a:lnTo>
                  <a:lnTo>
                    <a:pt x="371" y="2593"/>
                  </a:lnTo>
                  <a:lnTo>
                    <a:pt x="337" y="1886"/>
                  </a:lnTo>
                  <a:lnTo>
                    <a:pt x="236" y="1145"/>
                  </a:lnTo>
                  <a:lnTo>
                    <a:pt x="202" y="708"/>
                  </a:lnTo>
                  <a:lnTo>
                    <a:pt x="135" y="270"/>
                  </a:lnTo>
                  <a:lnTo>
                    <a:pt x="1179" y="270"/>
                  </a:lnTo>
                  <a:lnTo>
                    <a:pt x="2256" y="236"/>
                  </a:lnTo>
                  <a:close/>
                  <a:moveTo>
                    <a:pt x="2222" y="1"/>
                  </a:moveTo>
                  <a:lnTo>
                    <a:pt x="1179" y="34"/>
                  </a:lnTo>
                  <a:lnTo>
                    <a:pt x="640" y="34"/>
                  </a:lnTo>
                  <a:lnTo>
                    <a:pt x="135" y="68"/>
                  </a:lnTo>
                  <a:lnTo>
                    <a:pt x="68" y="135"/>
                  </a:lnTo>
                  <a:lnTo>
                    <a:pt x="34" y="203"/>
                  </a:lnTo>
                  <a:lnTo>
                    <a:pt x="0" y="438"/>
                  </a:lnTo>
                  <a:lnTo>
                    <a:pt x="0" y="674"/>
                  </a:lnTo>
                  <a:lnTo>
                    <a:pt x="34" y="1145"/>
                  </a:lnTo>
                  <a:lnTo>
                    <a:pt x="101" y="1920"/>
                  </a:lnTo>
                  <a:lnTo>
                    <a:pt x="135" y="2357"/>
                  </a:lnTo>
                  <a:lnTo>
                    <a:pt x="236" y="2694"/>
                  </a:lnTo>
                  <a:lnTo>
                    <a:pt x="236" y="2728"/>
                  </a:lnTo>
                  <a:lnTo>
                    <a:pt x="270" y="2761"/>
                  </a:lnTo>
                  <a:lnTo>
                    <a:pt x="337" y="2728"/>
                  </a:lnTo>
                  <a:lnTo>
                    <a:pt x="371" y="2728"/>
                  </a:lnTo>
                  <a:lnTo>
                    <a:pt x="606" y="2761"/>
                  </a:lnTo>
                  <a:lnTo>
                    <a:pt x="842" y="2761"/>
                  </a:lnTo>
                  <a:lnTo>
                    <a:pt x="1313" y="2728"/>
                  </a:lnTo>
                  <a:lnTo>
                    <a:pt x="2088" y="2728"/>
                  </a:lnTo>
                  <a:lnTo>
                    <a:pt x="2357" y="2694"/>
                  </a:lnTo>
                  <a:lnTo>
                    <a:pt x="2492" y="2694"/>
                  </a:lnTo>
                  <a:lnTo>
                    <a:pt x="2492" y="2660"/>
                  </a:lnTo>
                  <a:lnTo>
                    <a:pt x="2525" y="2324"/>
                  </a:lnTo>
                  <a:lnTo>
                    <a:pt x="2525" y="1953"/>
                  </a:lnTo>
                  <a:lnTo>
                    <a:pt x="2492" y="1246"/>
                  </a:lnTo>
                  <a:lnTo>
                    <a:pt x="2458" y="640"/>
                  </a:lnTo>
                  <a:lnTo>
                    <a:pt x="2424" y="337"/>
                  </a:lnTo>
                  <a:lnTo>
                    <a:pt x="2357" y="68"/>
                  </a:lnTo>
                  <a:lnTo>
                    <a:pt x="2323" y="34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9" name="Google Shape;819;p5"/>
            <p:cNvSpPr/>
            <p:nvPr/>
          </p:nvSpPr>
          <p:spPr>
            <a:xfrm>
              <a:off x="494887" y="283483"/>
              <a:ext cx="124207" cy="130884"/>
            </a:xfrm>
            <a:custGeom>
              <a:avLst/>
              <a:gdLst/>
              <a:ahLst/>
              <a:cxnLst/>
              <a:rect l="l" t="t" r="r" b="b"/>
              <a:pathLst>
                <a:path w="2493" h="2627" extrusionOk="0">
                  <a:moveTo>
                    <a:pt x="2223" y="135"/>
                  </a:moveTo>
                  <a:lnTo>
                    <a:pt x="2257" y="1213"/>
                  </a:lnTo>
                  <a:lnTo>
                    <a:pt x="2223" y="2290"/>
                  </a:lnTo>
                  <a:lnTo>
                    <a:pt x="1752" y="2324"/>
                  </a:lnTo>
                  <a:lnTo>
                    <a:pt x="1247" y="2357"/>
                  </a:lnTo>
                  <a:lnTo>
                    <a:pt x="775" y="2357"/>
                  </a:lnTo>
                  <a:lnTo>
                    <a:pt x="539" y="2391"/>
                  </a:lnTo>
                  <a:lnTo>
                    <a:pt x="337" y="2425"/>
                  </a:lnTo>
                  <a:lnTo>
                    <a:pt x="304" y="2425"/>
                  </a:lnTo>
                  <a:lnTo>
                    <a:pt x="304" y="2391"/>
                  </a:lnTo>
                  <a:lnTo>
                    <a:pt x="337" y="1886"/>
                  </a:lnTo>
                  <a:lnTo>
                    <a:pt x="304" y="1347"/>
                  </a:lnTo>
                  <a:lnTo>
                    <a:pt x="236" y="809"/>
                  </a:lnTo>
                  <a:lnTo>
                    <a:pt x="135" y="270"/>
                  </a:lnTo>
                  <a:lnTo>
                    <a:pt x="1213" y="270"/>
                  </a:lnTo>
                  <a:lnTo>
                    <a:pt x="1718" y="236"/>
                  </a:lnTo>
                  <a:lnTo>
                    <a:pt x="2223" y="135"/>
                  </a:lnTo>
                  <a:close/>
                  <a:moveTo>
                    <a:pt x="1718" y="1"/>
                  </a:moveTo>
                  <a:lnTo>
                    <a:pt x="1179" y="34"/>
                  </a:lnTo>
                  <a:lnTo>
                    <a:pt x="640" y="68"/>
                  </a:lnTo>
                  <a:lnTo>
                    <a:pt x="102" y="68"/>
                  </a:lnTo>
                  <a:lnTo>
                    <a:pt x="34" y="102"/>
                  </a:lnTo>
                  <a:lnTo>
                    <a:pt x="1" y="135"/>
                  </a:lnTo>
                  <a:lnTo>
                    <a:pt x="1" y="203"/>
                  </a:lnTo>
                  <a:lnTo>
                    <a:pt x="34" y="270"/>
                  </a:lnTo>
                  <a:lnTo>
                    <a:pt x="34" y="775"/>
                  </a:lnTo>
                  <a:lnTo>
                    <a:pt x="34" y="1347"/>
                  </a:lnTo>
                  <a:lnTo>
                    <a:pt x="68" y="1886"/>
                  </a:lnTo>
                  <a:lnTo>
                    <a:pt x="135" y="2391"/>
                  </a:lnTo>
                  <a:lnTo>
                    <a:pt x="169" y="2458"/>
                  </a:lnTo>
                  <a:lnTo>
                    <a:pt x="203" y="2458"/>
                  </a:lnTo>
                  <a:lnTo>
                    <a:pt x="236" y="2492"/>
                  </a:lnTo>
                  <a:lnTo>
                    <a:pt x="270" y="2458"/>
                  </a:lnTo>
                  <a:lnTo>
                    <a:pt x="270" y="2526"/>
                  </a:lnTo>
                  <a:lnTo>
                    <a:pt x="337" y="2559"/>
                  </a:lnTo>
                  <a:lnTo>
                    <a:pt x="539" y="2593"/>
                  </a:lnTo>
                  <a:lnTo>
                    <a:pt x="775" y="2627"/>
                  </a:lnTo>
                  <a:lnTo>
                    <a:pt x="1280" y="2593"/>
                  </a:lnTo>
                  <a:lnTo>
                    <a:pt x="1752" y="2526"/>
                  </a:lnTo>
                  <a:lnTo>
                    <a:pt x="2223" y="2425"/>
                  </a:lnTo>
                  <a:lnTo>
                    <a:pt x="2223" y="2492"/>
                  </a:lnTo>
                  <a:lnTo>
                    <a:pt x="2257" y="2559"/>
                  </a:lnTo>
                  <a:lnTo>
                    <a:pt x="2324" y="2593"/>
                  </a:lnTo>
                  <a:lnTo>
                    <a:pt x="2391" y="2593"/>
                  </a:lnTo>
                  <a:lnTo>
                    <a:pt x="2425" y="2526"/>
                  </a:lnTo>
                  <a:lnTo>
                    <a:pt x="2492" y="1920"/>
                  </a:lnTo>
                  <a:lnTo>
                    <a:pt x="2492" y="1314"/>
                  </a:lnTo>
                  <a:lnTo>
                    <a:pt x="2492" y="708"/>
                  </a:lnTo>
                  <a:lnTo>
                    <a:pt x="2391" y="102"/>
                  </a:lnTo>
                  <a:lnTo>
                    <a:pt x="2391" y="68"/>
                  </a:lnTo>
                  <a:lnTo>
                    <a:pt x="2324" y="68"/>
                  </a:lnTo>
                  <a:lnTo>
                    <a:pt x="232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0" name="Google Shape;820;p5"/>
            <p:cNvSpPr/>
            <p:nvPr/>
          </p:nvSpPr>
          <p:spPr>
            <a:xfrm>
              <a:off x="575400" y="424381"/>
              <a:ext cx="16840" cy="115787"/>
            </a:xfrm>
            <a:custGeom>
              <a:avLst/>
              <a:gdLst/>
              <a:ahLst/>
              <a:cxnLst/>
              <a:rect l="l" t="t" r="r" b="b"/>
              <a:pathLst>
                <a:path w="338" h="2324" extrusionOk="0">
                  <a:moveTo>
                    <a:pt x="68" y="1"/>
                  </a:moveTo>
                  <a:lnTo>
                    <a:pt x="35" y="34"/>
                  </a:lnTo>
                  <a:lnTo>
                    <a:pt x="1" y="304"/>
                  </a:lnTo>
                  <a:lnTo>
                    <a:pt x="1" y="573"/>
                  </a:lnTo>
                  <a:lnTo>
                    <a:pt x="35" y="1078"/>
                  </a:lnTo>
                  <a:lnTo>
                    <a:pt x="68" y="1684"/>
                  </a:lnTo>
                  <a:lnTo>
                    <a:pt x="102" y="1987"/>
                  </a:lnTo>
                  <a:lnTo>
                    <a:pt x="169" y="2290"/>
                  </a:lnTo>
                  <a:lnTo>
                    <a:pt x="203" y="2324"/>
                  </a:lnTo>
                  <a:lnTo>
                    <a:pt x="304" y="2324"/>
                  </a:lnTo>
                  <a:lnTo>
                    <a:pt x="304" y="2257"/>
                  </a:lnTo>
                  <a:lnTo>
                    <a:pt x="338" y="1987"/>
                  </a:lnTo>
                  <a:lnTo>
                    <a:pt x="304" y="1684"/>
                  </a:lnTo>
                  <a:lnTo>
                    <a:pt x="237" y="1078"/>
                  </a:lnTo>
                  <a:lnTo>
                    <a:pt x="203" y="539"/>
                  </a:lnTo>
                  <a:lnTo>
                    <a:pt x="169" y="304"/>
                  </a:lnTo>
                  <a:lnTo>
                    <a:pt x="136" y="34"/>
                  </a:lnTo>
                  <a:lnTo>
                    <a:pt x="13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1" name="Google Shape;821;p5"/>
            <p:cNvSpPr/>
            <p:nvPr/>
          </p:nvSpPr>
          <p:spPr>
            <a:xfrm>
              <a:off x="342281" y="469669"/>
              <a:ext cx="36918" cy="43694"/>
            </a:xfrm>
            <a:custGeom>
              <a:avLst/>
              <a:gdLst/>
              <a:ahLst/>
              <a:cxnLst/>
              <a:rect l="l" t="t" r="r" b="b"/>
              <a:pathLst>
                <a:path w="741" h="877" extrusionOk="0">
                  <a:moveTo>
                    <a:pt x="101" y="1"/>
                  </a:moveTo>
                  <a:lnTo>
                    <a:pt x="34" y="34"/>
                  </a:lnTo>
                  <a:lnTo>
                    <a:pt x="0" y="68"/>
                  </a:lnTo>
                  <a:lnTo>
                    <a:pt x="0" y="102"/>
                  </a:lnTo>
                  <a:lnTo>
                    <a:pt x="34" y="169"/>
                  </a:lnTo>
                  <a:lnTo>
                    <a:pt x="135" y="203"/>
                  </a:lnTo>
                  <a:lnTo>
                    <a:pt x="337" y="270"/>
                  </a:lnTo>
                  <a:lnTo>
                    <a:pt x="168" y="472"/>
                  </a:lnTo>
                  <a:lnTo>
                    <a:pt x="34" y="708"/>
                  </a:lnTo>
                  <a:lnTo>
                    <a:pt x="0" y="775"/>
                  </a:lnTo>
                  <a:lnTo>
                    <a:pt x="34" y="842"/>
                  </a:lnTo>
                  <a:lnTo>
                    <a:pt x="101" y="876"/>
                  </a:lnTo>
                  <a:lnTo>
                    <a:pt x="168" y="876"/>
                  </a:lnTo>
                  <a:lnTo>
                    <a:pt x="505" y="775"/>
                  </a:lnTo>
                  <a:lnTo>
                    <a:pt x="673" y="741"/>
                  </a:lnTo>
                  <a:lnTo>
                    <a:pt x="707" y="708"/>
                  </a:lnTo>
                  <a:lnTo>
                    <a:pt x="741" y="640"/>
                  </a:lnTo>
                  <a:lnTo>
                    <a:pt x="741" y="573"/>
                  </a:lnTo>
                  <a:lnTo>
                    <a:pt x="673" y="539"/>
                  </a:lnTo>
                  <a:lnTo>
                    <a:pt x="640" y="539"/>
                  </a:lnTo>
                  <a:lnTo>
                    <a:pt x="505" y="573"/>
                  </a:lnTo>
                  <a:lnTo>
                    <a:pt x="370" y="607"/>
                  </a:lnTo>
                  <a:lnTo>
                    <a:pt x="640" y="236"/>
                  </a:lnTo>
                  <a:lnTo>
                    <a:pt x="673" y="169"/>
                  </a:lnTo>
                  <a:lnTo>
                    <a:pt x="640" y="135"/>
                  </a:lnTo>
                  <a:lnTo>
                    <a:pt x="606" y="102"/>
                  </a:lnTo>
                  <a:lnTo>
                    <a:pt x="539" y="68"/>
                  </a:lnTo>
                  <a:lnTo>
                    <a:pt x="236" y="34"/>
                  </a:lnTo>
                  <a:lnTo>
                    <a:pt x="10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2" name="Google Shape;822;p5"/>
            <p:cNvSpPr/>
            <p:nvPr/>
          </p:nvSpPr>
          <p:spPr>
            <a:xfrm>
              <a:off x="293604" y="429413"/>
              <a:ext cx="125852" cy="119175"/>
            </a:xfrm>
            <a:custGeom>
              <a:avLst/>
              <a:gdLst/>
              <a:ahLst/>
              <a:cxnLst/>
              <a:rect l="l" t="t" r="r" b="b"/>
              <a:pathLst>
                <a:path w="2526" h="2392" extrusionOk="0">
                  <a:moveTo>
                    <a:pt x="2256" y="236"/>
                  </a:moveTo>
                  <a:lnTo>
                    <a:pt x="2256" y="674"/>
                  </a:lnTo>
                  <a:lnTo>
                    <a:pt x="2290" y="1112"/>
                  </a:lnTo>
                  <a:lnTo>
                    <a:pt x="2290" y="1617"/>
                  </a:lnTo>
                  <a:lnTo>
                    <a:pt x="2324" y="2122"/>
                  </a:lnTo>
                  <a:lnTo>
                    <a:pt x="1448" y="2122"/>
                  </a:lnTo>
                  <a:lnTo>
                    <a:pt x="910" y="2156"/>
                  </a:lnTo>
                  <a:lnTo>
                    <a:pt x="640" y="2156"/>
                  </a:lnTo>
                  <a:lnTo>
                    <a:pt x="371" y="2223"/>
                  </a:lnTo>
                  <a:lnTo>
                    <a:pt x="304" y="1684"/>
                  </a:lnTo>
                  <a:lnTo>
                    <a:pt x="236" y="1145"/>
                  </a:lnTo>
                  <a:lnTo>
                    <a:pt x="203" y="708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674" y="304"/>
                  </a:lnTo>
                  <a:lnTo>
                    <a:pt x="1213" y="270"/>
                  </a:lnTo>
                  <a:lnTo>
                    <a:pt x="2256" y="236"/>
                  </a:lnTo>
                  <a:close/>
                  <a:moveTo>
                    <a:pt x="2256" y="1"/>
                  </a:moveTo>
                  <a:lnTo>
                    <a:pt x="1179" y="34"/>
                  </a:lnTo>
                  <a:lnTo>
                    <a:pt x="674" y="68"/>
                  </a:lnTo>
                  <a:lnTo>
                    <a:pt x="135" y="102"/>
                  </a:lnTo>
                  <a:lnTo>
                    <a:pt x="68" y="135"/>
                  </a:lnTo>
                  <a:lnTo>
                    <a:pt x="34" y="203"/>
                  </a:lnTo>
                  <a:lnTo>
                    <a:pt x="1" y="438"/>
                  </a:lnTo>
                  <a:lnTo>
                    <a:pt x="1" y="674"/>
                  </a:lnTo>
                  <a:lnTo>
                    <a:pt x="34" y="1179"/>
                  </a:lnTo>
                  <a:lnTo>
                    <a:pt x="102" y="1751"/>
                  </a:lnTo>
                  <a:lnTo>
                    <a:pt x="135" y="2055"/>
                  </a:lnTo>
                  <a:lnTo>
                    <a:pt x="203" y="2324"/>
                  </a:lnTo>
                  <a:lnTo>
                    <a:pt x="236" y="2358"/>
                  </a:lnTo>
                  <a:lnTo>
                    <a:pt x="371" y="2358"/>
                  </a:lnTo>
                  <a:lnTo>
                    <a:pt x="573" y="2391"/>
                  </a:lnTo>
                  <a:lnTo>
                    <a:pt x="842" y="2391"/>
                  </a:lnTo>
                  <a:lnTo>
                    <a:pt x="1314" y="2358"/>
                  </a:lnTo>
                  <a:lnTo>
                    <a:pt x="2088" y="2358"/>
                  </a:lnTo>
                  <a:lnTo>
                    <a:pt x="2357" y="2324"/>
                  </a:lnTo>
                  <a:lnTo>
                    <a:pt x="2458" y="2324"/>
                  </a:lnTo>
                  <a:lnTo>
                    <a:pt x="2492" y="2290"/>
                  </a:lnTo>
                  <a:lnTo>
                    <a:pt x="2526" y="2021"/>
                  </a:lnTo>
                  <a:lnTo>
                    <a:pt x="2526" y="1785"/>
                  </a:lnTo>
                  <a:lnTo>
                    <a:pt x="2492" y="1246"/>
                  </a:lnTo>
                  <a:lnTo>
                    <a:pt x="2458" y="674"/>
                  </a:lnTo>
                  <a:lnTo>
                    <a:pt x="2425" y="371"/>
                  </a:lnTo>
                  <a:lnTo>
                    <a:pt x="2357" y="68"/>
                  </a:lnTo>
                  <a:lnTo>
                    <a:pt x="2324" y="34"/>
                  </a:lnTo>
                  <a:lnTo>
                    <a:pt x="2290" y="34"/>
                  </a:lnTo>
                  <a:lnTo>
                    <a:pt x="22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3" name="Google Shape;823;p5"/>
            <p:cNvSpPr/>
            <p:nvPr/>
          </p:nvSpPr>
          <p:spPr>
            <a:xfrm>
              <a:off x="1134010" y="394188"/>
              <a:ext cx="129190" cy="120820"/>
            </a:xfrm>
            <a:custGeom>
              <a:avLst/>
              <a:gdLst/>
              <a:ahLst/>
              <a:cxnLst/>
              <a:rect l="l" t="t" r="r" b="b"/>
              <a:pathLst>
                <a:path w="2593" h="2425" extrusionOk="0">
                  <a:moveTo>
                    <a:pt x="2391" y="1"/>
                  </a:moveTo>
                  <a:lnTo>
                    <a:pt x="2357" y="34"/>
                  </a:lnTo>
                  <a:lnTo>
                    <a:pt x="2323" y="135"/>
                  </a:lnTo>
                  <a:lnTo>
                    <a:pt x="1751" y="102"/>
                  </a:lnTo>
                  <a:lnTo>
                    <a:pt x="1179" y="68"/>
                  </a:lnTo>
                  <a:lnTo>
                    <a:pt x="674" y="34"/>
                  </a:lnTo>
                  <a:lnTo>
                    <a:pt x="404" y="68"/>
                  </a:lnTo>
                  <a:lnTo>
                    <a:pt x="303" y="135"/>
                  </a:lnTo>
                  <a:lnTo>
                    <a:pt x="202" y="169"/>
                  </a:lnTo>
                  <a:lnTo>
                    <a:pt x="202" y="203"/>
                  </a:lnTo>
                  <a:lnTo>
                    <a:pt x="371" y="270"/>
                  </a:lnTo>
                  <a:lnTo>
                    <a:pt x="573" y="304"/>
                  </a:lnTo>
                  <a:lnTo>
                    <a:pt x="1684" y="304"/>
                  </a:lnTo>
                  <a:lnTo>
                    <a:pt x="2323" y="337"/>
                  </a:lnTo>
                  <a:lnTo>
                    <a:pt x="2323" y="708"/>
                  </a:lnTo>
                  <a:lnTo>
                    <a:pt x="2323" y="1078"/>
                  </a:lnTo>
                  <a:lnTo>
                    <a:pt x="2323" y="1583"/>
                  </a:lnTo>
                  <a:lnTo>
                    <a:pt x="2357" y="1852"/>
                  </a:lnTo>
                  <a:lnTo>
                    <a:pt x="2387" y="2088"/>
                  </a:lnTo>
                  <a:lnTo>
                    <a:pt x="2387" y="2088"/>
                  </a:lnTo>
                  <a:lnTo>
                    <a:pt x="1347" y="2122"/>
                  </a:lnTo>
                  <a:lnTo>
                    <a:pt x="808" y="2155"/>
                  </a:lnTo>
                  <a:lnTo>
                    <a:pt x="539" y="2189"/>
                  </a:lnTo>
                  <a:lnTo>
                    <a:pt x="303" y="2256"/>
                  </a:lnTo>
                  <a:lnTo>
                    <a:pt x="270" y="1751"/>
                  </a:lnTo>
                  <a:lnTo>
                    <a:pt x="236" y="1246"/>
                  </a:lnTo>
                  <a:lnTo>
                    <a:pt x="270" y="708"/>
                  </a:lnTo>
                  <a:lnTo>
                    <a:pt x="236" y="438"/>
                  </a:lnTo>
                  <a:lnTo>
                    <a:pt x="202" y="304"/>
                  </a:lnTo>
                  <a:lnTo>
                    <a:pt x="169" y="203"/>
                  </a:lnTo>
                  <a:lnTo>
                    <a:pt x="68" y="337"/>
                  </a:lnTo>
                  <a:lnTo>
                    <a:pt x="34" y="506"/>
                  </a:lnTo>
                  <a:lnTo>
                    <a:pt x="0" y="876"/>
                  </a:lnTo>
                  <a:lnTo>
                    <a:pt x="34" y="1583"/>
                  </a:lnTo>
                  <a:lnTo>
                    <a:pt x="34" y="1819"/>
                  </a:lnTo>
                  <a:lnTo>
                    <a:pt x="34" y="2088"/>
                  </a:lnTo>
                  <a:lnTo>
                    <a:pt x="68" y="2189"/>
                  </a:lnTo>
                  <a:lnTo>
                    <a:pt x="101" y="2290"/>
                  </a:lnTo>
                  <a:lnTo>
                    <a:pt x="169" y="2391"/>
                  </a:lnTo>
                  <a:lnTo>
                    <a:pt x="270" y="2425"/>
                  </a:lnTo>
                  <a:lnTo>
                    <a:pt x="303" y="2425"/>
                  </a:lnTo>
                  <a:lnTo>
                    <a:pt x="337" y="2391"/>
                  </a:lnTo>
                  <a:lnTo>
                    <a:pt x="337" y="2357"/>
                  </a:lnTo>
                  <a:lnTo>
                    <a:pt x="573" y="2391"/>
                  </a:lnTo>
                  <a:lnTo>
                    <a:pt x="842" y="2425"/>
                  </a:lnTo>
                  <a:lnTo>
                    <a:pt x="1347" y="2391"/>
                  </a:lnTo>
                  <a:lnTo>
                    <a:pt x="2391" y="2324"/>
                  </a:lnTo>
                  <a:lnTo>
                    <a:pt x="2458" y="2290"/>
                  </a:lnTo>
                  <a:lnTo>
                    <a:pt x="2492" y="2324"/>
                  </a:lnTo>
                  <a:lnTo>
                    <a:pt x="2525" y="2324"/>
                  </a:lnTo>
                  <a:lnTo>
                    <a:pt x="2559" y="2290"/>
                  </a:lnTo>
                  <a:lnTo>
                    <a:pt x="2593" y="2021"/>
                  </a:lnTo>
                  <a:lnTo>
                    <a:pt x="2559" y="1785"/>
                  </a:lnTo>
                  <a:lnTo>
                    <a:pt x="2525" y="1246"/>
                  </a:lnTo>
                  <a:lnTo>
                    <a:pt x="2525" y="640"/>
                  </a:lnTo>
                  <a:lnTo>
                    <a:pt x="2492" y="337"/>
                  </a:lnTo>
                  <a:lnTo>
                    <a:pt x="2458" y="34"/>
                  </a:lnTo>
                  <a:lnTo>
                    <a:pt x="242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4" name="Google Shape;824;p5"/>
            <p:cNvSpPr/>
            <p:nvPr/>
          </p:nvSpPr>
          <p:spPr>
            <a:xfrm>
              <a:off x="1598655" y="572005"/>
              <a:ext cx="129190" cy="83901"/>
            </a:xfrm>
            <a:custGeom>
              <a:avLst/>
              <a:gdLst/>
              <a:ahLst/>
              <a:cxnLst/>
              <a:rect l="l" t="t" r="r" b="b"/>
              <a:pathLst>
                <a:path w="2593" h="1684" extrusionOk="0">
                  <a:moveTo>
                    <a:pt x="2222" y="304"/>
                  </a:moveTo>
                  <a:lnTo>
                    <a:pt x="2290" y="910"/>
                  </a:lnTo>
                  <a:lnTo>
                    <a:pt x="2357" y="1381"/>
                  </a:lnTo>
                  <a:lnTo>
                    <a:pt x="2121" y="1347"/>
                  </a:lnTo>
                  <a:lnTo>
                    <a:pt x="1886" y="1347"/>
                  </a:lnTo>
                  <a:lnTo>
                    <a:pt x="1414" y="1381"/>
                  </a:lnTo>
                  <a:lnTo>
                    <a:pt x="808" y="1381"/>
                  </a:lnTo>
                  <a:lnTo>
                    <a:pt x="539" y="1415"/>
                  </a:lnTo>
                  <a:lnTo>
                    <a:pt x="270" y="1482"/>
                  </a:lnTo>
                  <a:lnTo>
                    <a:pt x="236" y="876"/>
                  </a:lnTo>
                  <a:lnTo>
                    <a:pt x="202" y="573"/>
                  </a:lnTo>
                  <a:lnTo>
                    <a:pt x="202" y="438"/>
                  </a:lnTo>
                  <a:lnTo>
                    <a:pt x="169" y="304"/>
                  </a:lnTo>
                  <a:lnTo>
                    <a:pt x="404" y="371"/>
                  </a:lnTo>
                  <a:lnTo>
                    <a:pt x="674" y="405"/>
                  </a:lnTo>
                  <a:lnTo>
                    <a:pt x="1684" y="405"/>
                  </a:lnTo>
                  <a:lnTo>
                    <a:pt x="1953" y="371"/>
                  </a:lnTo>
                  <a:lnTo>
                    <a:pt x="2222" y="304"/>
                  </a:lnTo>
                  <a:close/>
                  <a:moveTo>
                    <a:pt x="2256" y="1"/>
                  </a:moveTo>
                  <a:lnTo>
                    <a:pt x="2222" y="34"/>
                  </a:lnTo>
                  <a:lnTo>
                    <a:pt x="2222" y="68"/>
                  </a:lnTo>
                  <a:lnTo>
                    <a:pt x="2222" y="169"/>
                  </a:lnTo>
                  <a:lnTo>
                    <a:pt x="1785" y="169"/>
                  </a:lnTo>
                  <a:lnTo>
                    <a:pt x="1347" y="203"/>
                  </a:lnTo>
                  <a:lnTo>
                    <a:pt x="438" y="203"/>
                  </a:lnTo>
                  <a:lnTo>
                    <a:pt x="135" y="236"/>
                  </a:lnTo>
                  <a:lnTo>
                    <a:pt x="101" y="236"/>
                  </a:lnTo>
                  <a:lnTo>
                    <a:pt x="68" y="270"/>
                  </a:lnTo>
                  <a:lnTo>
                    <a:pt x="34" y="371"/>
                  </a:lnTo>
                  <a:lnTo>
                    <a:pt x="0" y="506"/>
                  </a:lnTo>
                  <a:lnTo>
                    <a:pt x="34" y="775"/>
                  </a:lnTo>
                  <a:lnTo>
                    <a:pt x="34" y="1549"/>
                  </a:lnTo>
                  <a:lnTo>
                    <a:pt x="68" y="1617"/>
                  </a:lnTo>
                  <a:lnTo>
                    <a:pt x="135" y="1650"/>
                  </a:lnTo>
                  <a:lnTo>
                    <a:pt x="202" y="1617"/>
                  </a:lnTo>
                  <a:lnTo>
                    <a:pt x="236" y="1583"/>
                  </a:lnTo>
                  <a:lnTo>
                    <a:pt x="505" y="1617"/>
                  </a:lnTo>
                  <a:lnTo>
                    <a:pt x="741" y="1617"/>
                  </a:lnTo>
                  <a:lnTo>
                    <a:pt x="1246" y="1583"/>
                  </a:lnTo>
                  <a:lnTo>
                    <a:pt x="1818" y="1583"/>
                  </a:lnTo>
                  <a:lnTo>
                    <a:pt x="2121" y="1549"/>
                  </a:lnTo>
                  <a:lnTo>
                    <a:pt x="2391" y="1482"/>
                  </a:lnTo>
                  <a:lnTo>
                    <a:pt x="2458" y="1684"/>
                  </a:lnTo>
                  <a:lnTo>
                    <a:pt x="2525" y="1684"/>
                  </a:lnTo>
                  <a:lnTo>
                    <a:pt x="2559" y="1650"/>
                  </a:lnTo>
                  <a:lnTo>
                    <a:pt x="2593" y="1482"/>
                  </a:lnTo>
                  <a:lnTo>
                    <a:pt x="2559" y="1280"/>
                  </a:lnTo>
                  <a:lnTo>
                    <a:pt x="2492" y="910"/>
                  </a:lnTo>
                  <a:lnTo>
                    <a:pt x="2391" y="270"/>
                  </a:lnTo>
                  <a:lnTo>
                    <a:pt x="2424" y="236"/>
                  </a:lnTo>
                  <a:lnTo>
                    <a:pt x="2424" y="203"/>
                  </a:lnTo>
                  <a:lnTo>
                    <a:pt x="2391" y="169"/>
                  </a:lnTo>
                  <a:lnTo>
                    <a:pt x="2357" y="169"/>
                  </a:lnTo>
                  <a:lnTo>
                    <a:pt x="2323" y="34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5" name="Google Shape;825;p5"/>
            <p:cNvSpPr/>
            <p:nvPr/>
          </p:nvSpPr>
          <p:spPr>
            <a:xfrm>
              <a:off x="50" y="-7"/>
              <a:ext cx="2049897" cy="773345"/>
            </a:xfrm>
            <a:custGeom>
              <a:avLst/>
              <a:gdLst/>
              <a:ahLst/>
              <a:cxnLst/>
              <a:rect l="l" t="t" r="r" b="b"/>
              <a:pathLst>
                <a:path w="41144" h="15522" extrusionOk="0">
                  <a:moveTo>
                    <a:pt x="40604" y="1"/>
                  </a:moveTo>
                  <a:lnTo>
                    <a:pt x="40705" y="2425"/>
                  </a:lnTo>
                  <a:lnTo>
                    <a:pt x="40773" y="4849"/>
                  </a:lnTo>
                  <a:lnTo>
                    <a:pt x="40806" y="7374"/>
                  </a:lnTo>
                  <a:lnTo>
                    <a:pt x="40806" y="9899"/>
                  </a:lnTo>
                  <a:lnTo>
                    <a:pt x="40773" y="11078"/>
                  </a:lnTo>
                  <a:lnTo>
                    <a:pt x="40705" y="12256"/>
                  </a:lnTo>
                  <a:lnTo>
                    <a:pt x="40705" y="12626"/>
                  </a:lnTo>
                  <a:lnTo>
                    <a:pt x="40638" y="12997"/>
                  </a:lnTo>
                  <a:lnTo>
                    <a:pt x="40604" y="13199"/>
                  </a:lnTo>
                  <a:lnTo>
                    <a:pt x="40503" y="13367"/>
                  </a:lnTo>
                  <a:lnTo>
                    <a:pt x="40369" y="13468"/>
                  </a:lnTo>
                  <a:lnTo>
                    <a:pt x="40200" y="13535"/>
                  </a:lnTo>
                  <a:lnTo>
                    <a:pt x="39998" y="13569"/>
                  </a:lnTo>
                  <a:lnTo>
                    <a:pt x="39830" y="13603"/>
                  </a:lnTo>
                  <a:lnTo>
                    <a:pt x="29629" y="13939"/>
                  </a:lnTo>
                  <a:lnTo>
                    <a:pt x="19461" y="14276"/>
                  </a:lnTo>
                  <a:lnTo>
                    <a:pt x="14276" y="14478"/>
                  </a:lnTo>
                  <a:lnTo>
                    <a:pt x="9091" y="14714"/>
                  </a:lnTo>
                  <a:lnTo>
                    <a:pt x="6499" y="14882"/>
                  </a:lnTo>
                  <a:lnTo>
                    <a:pt x="3940" y="15050"/>
                  </a:lnTo>
                  <a:lnTo>
                    <a:pt x="1179" y="15252"/>
                  </a:lnTo>
                  <a:lnTo>
                    <a:pt x="607" y="15286"/>
                  </a:lnTo>
                  <a:lnTo>
                    <a:pt x="304" y="15320"/>
                  </a:lnTo>
                  <a:lnTo>
                    <a:pt x="1" y="15286"/>
                  </a:lnTo>
                  <a:lnTo>
                    <a:pt x="1" y="15522"/>
                  </a:lnTo>
                  <a:lnTo>
                    <a:pt x="910" y="15522"/>
                  </a:lnTo>
                  <a:lnTo>
                    <a:pt x="3671" y="15320"/>
                  </a:lnTo>
                  <a:lnTo>
                    <a:pt x="6398" y="15118"/>
                  </a:lnTo>
                  <a:lnTo>
                    <a:pt x="9226" y="14949"/>
                  </a:lnTo>
                  <a:lnTo>
                    <a:pt x="12020" y="14815"/>
                  </a:lnTo>
                  <a:lnTo>
                    <a:pt x="17676" y="14579"/>
                  </a:lnTo>
                  <a:lnTo>
                    <a:pt x="23164" y="14377"/>
                  </a:lnTo>
                  <a:lnTo>
                    <a:pt x="28619" y="14209"/>
                  </a:lnTo>
                  <a:lnTo>
                    <a:pt x="39594" y="13872"/>
                  </a:lnTo>
                  <a:lnTo>
                    <a:pt x="39662" y="13939"/>
                  </a:lnTo>
                  <a:lnTo>
                    <a:pt x="39729" y="13973"/>
                  </a:lnTo>
                  <a:lnTo>
                    <a:pt x="39763" y="13939"/>
                  </a:lnTo>
                  <a:lnTo>
                    <a:pt x="39897" y="13906"/>
                  </a:lnTo>
                  <a:lnTo>
                    <a:pt x="40066" y="13872"/>
                  </a:lnTo>
                  <a:lnTo>
                    <a:pt x="40167" y="13872"/>
                  </a:lnTo>
                  <a:lnTo>
                    <a:pt x="40234" y="13838"/>
                  </a:lnTo>
                  <a:lnTo>
                    <a:pt x="40402" y="13805"/>
                  </a:lnTo>
                  <a:lnTo>
                    <a:pt x="40571" y="13737"/>
                  </a:lnTo>
                  <a:lnTo>
                    <a:pt x="40705" y="13636"/>
                  </a:lnTo>
                  <a:lnTo>
                    <a:pt x="40806" y="13468"/>
                  </a:lnTo>
                  <a:lnTo>
                    <a:pt x="40907" y="13232"/>
                  </a:lnTo>
                  <a:lnTo>
                    <a:pt x="40975" y="12997"/>
                  </a:lnTo>
                  <a:lnTo>
                    <a:pt x="41042" y="12458"/>
                  </a:lnTo>
                  <a:lnTo>
                    <a:pt x="41076" y="11414"/>
                  </a:lnTo>
                  <a:lnTo>
                    <a:pt x="41109" y="10000"/>
                  </a:lnTo>
                  <a:lnTo>
                    <a:pt x="41143" y="8586"/>
                  </a:lnTo>
                  <a:lnTo>
                    <a:pt x="41109" y="5758"/>
                  </a:lnTo>
                  <a:lnTo>
                    <a:pt x="41042" y="3065"/>
                  </a:lnTo>
                  <a:lnTo>
                    <a:pt x="40907" y="337"/>
                  </a:lnTo>
                  <a:lnTo>
                    <a:pt x="4090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6" name="Google Shape;826;p5"/>
            <p:cNvSpPr/>
            <p:nvPr/>
          </p:nvSpPr>
          <p:spPr>
            <a:xfrm>
              <a:off x="1872080" y="582069"/>
              <a:ext cx="10114" cy="67161"/>
            </a:xfrm>
            <a:custGeom>
              <a:avLst/>
              <a:gdLst/>
              <a:ahLst/>
              <a:cxnLst/>
              <a:rect l="l" t="t" r="r" b="b"/>
              <a:pathLst>
                <a:path w="203" h="1348" extrusionOk="0">
                  <a:moveTo>
                    <a:pt x="101" y="1"/>
                  </a:moveTo>
                  <a:lnTo>
                    <a:pt x="34" y="102"/>
                  </a:lnTo>
                  <a:lnTo>
                    <a:pt x="0" y="236"/>
                  </a:lnTo>
                  <a:lnTo>
                    <a:pt x="34" y="506"/>
                  </a:lnTo>
                  <a:lnTo>
                    <a:pt x="34" y="1280"/>
                  </a:lnTo>
                  <a:lnTo>
                    <a:pt x="68" y="1347"/>
                  </a:lnTo>
                  <a:lnTo>
                    <a:pt x="135" y="1347"/>
                  </a:lnTo>
                  <a:lnTo>
                    <a:pt x="169" y="1314"/>
                  </a:lnTo>
                  <a:lnTo>
                    <a:pt x="202" y="1280"/>
                  </a:lnTo>
                  <a:lnTo>
                    <a:pt x="169" y="472"/>
                  </a:lnTo>
                  <a:lnTo>
                    <a:pt x="169" y="236"/>
                  </a:lnTo>
                  <a:lnTo>
                    <a:pt x="169" y="102"/>
                  </a:lnTo>
                  <a:lnTo>
                    <a:pt x="10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7" name="Google Shape;827;p5"/>
            <p:cNvSpPr/>
            <p:nvPr/>
          </p:nvSpPr>
          <p:spPr>
            <a:xfrm>
              <a:off x="1776471" y="-7"/>
              <a:ext cx="199639" cy="83951"/>
            </a:xfrm>
            <a:custGeom>
              <a:avLst/>
              <a:gdLst/>
              <a:ahLst/>
              <a:cxnLst/>
              <a:rect l="l" t="t" r="r" b="b"/>
              <a:pathLst>
                <a:path w="4007" h="1685" extrusionOk="0">
                  <a:moveTo>
                    <a:pt x="0" y="1"/>
                  </a:moveTo>
                  <a:lnTo>
                    <a:pt x="0" y="539"/>
                  </a:lnTo>
                  <a:lnTo>
                    <a:pt x="0" y="1011"/>
                  </a:lnTo>
                  <a:lnTo>
                    <a:pt x="68" y="1246"/>
                  </a:lnTo>
                  <a:lnTo>
                    <a:pt x="135" y="1448"/>
                  </a:lnTo>
                  <a:lnTo>
                    <a:pt x="202" y="1482"/>
                  </a:lnTo>
                  <a:lnTo>
                    <a:pt x="202" y="1516"/>
                  </a:lnTo>
                  <a:lnTo>
                    <a:pt x="236" y="1549"/>
                  </a:lnTo>
                  <a:lnTo>
                    <a:pt x="674" y="1617"/>
                  </a:lnTo>
                  <a:lnTo>
                    <a:pt x="1111" y="1650"/>
                  </a:lnTo>
                  <a:lnTo>
                    <a:pt x="2020" y="1684"/>
                  </a:lnTo>
                  <a:lnTo>
                    <a:pt x="2929" y="1650"/>
                  </a:lnTo>
                  <a:lnTo>
                    <a:pt x="3805" y="1549"/>
                  </a:lnTo>
                  <a:lnTo>
                    <a:pt x="3872" y="1583"/>
                  </a:lnTo>
                  <a:lnTo>
                    <a:pt x="3906" y="1583"/>
                  </a:lnTo>
                  <a:lnTo>
                    <a:pt x="3973" y="1549"/>
                  </a:lnTo>
                  <a:lnTo>
                    <a:pt x="4007" y="1482"/>
                  </a:lnTo>
                  <a:lnTo>
                    <a:pt x="3906" y="1"/>
                  </a:lnTo>
                  <a:lnTo>
                    <a:pt x="3704" y="1"/>
                  </a:lnTo>
                  <a:lnTo>
                    <a:pt x="3771" y="1347"/>
                  </a:lnTo>
                  <a:lnTo>
                    <a:pt x="2020" y="1381"/>
                  </a:lnTo>
                  <a:lnTo>
                    <a:pt x="1111" y="1381"/>
                  </a:lnTo>
                  <a:lnTo>
                    <a:pt x="236" y="1448"/>
                  </a:lnTo>
                  <a:lnTo>
                    <a:pt x="236" y="1415"/>
                  </a:lnTo>
                  <a:lnTo>
                    <a:pt x="270" y="1213"/>
                  </a:lnTo>
                  <a:lnTo>
                    <a:pt x="236" y="977"/>
                  </a:lnTo>
                  <a:lnTo>
                    <a:pt x="169" y="539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8" name="Google Shape;828;p5"/>
            <p:cNvSpPr/>
            <p:nvPr/>
          </p:nvSpPr>
          <p:spPr>
            <a:xfrm>
              <a:off x="365747" y="204663"/>
              <a:ext cx="47032" cy="33580"/>
            </a:xfrm>
            <a:custGeom>
              <a:avLst/>
              <a:gdLst/>
              <a:ahLst/>
              <a:cxnLst/>
              <a:rect l="l" t="t" r="r" b="b"/>
              <a:pathLst>
                <a:path w="944" h="674" extrusionOk="0">
                  <a:moveTo>
                    <a:pt x="876" y="0"/>
                  </a:moveTo>
                  <a:lnTo>
                    <a:pt x="808" y="34"/>
                  </a:lnTo>
                  <a:lnTo>
                    <a:pt x="741" y="135"/>
                  </a:lnTo>
                  <a:lnTo>
                    <a:pt x="707" y="236"/>
                  </a:lnTo>
                  <a:lnTo>
                    <a:pt x="640" y="505"/>
                  </a:lnTo>
                  <a:lnTo>
                    <a:pt x="539" y="371"/>
                  </a:lnTo>
                  <a:lnTo>
                    <a:pt x="472" y="270"/>
                  </a:lnTo>
                  <a:lnTo>
                    <a:pt x="539" y="169"/>
                  </a:lnTo>
                  <a:lnTo>
                    <a:pt x="539" y="101"/>
                  </a:lnTo>
                  <a:lnTo>
                    <a:pt x="505" y="68"/>
                  </a:lnTo>
                  <a:lnTo>
                    <a:pt x="438" y="68"/>
                  </a:lnTo>
                  <a:lnTo>
                    <a:pt x="371" y="101"/>
                  </a:lnTo>
                  <a:lnTo>
                    <a:pt x="202" y="404"/>
                  </a:lnTo>
                  <a:lnTo>
                    <a:pt x="202" y="371"/>
                  </a:lnTo>
                  <a:lnTo>
                    <a:pt x="169" y="236"/>
                  </a:lnTo>
                  <a:lnTo>
                    <a:pt x="135" y="202"/>
                  </a:lnTo>
                  <a:lnTo>
                    <a:pt x="101" y="169"/>
                  </a:lnTo>
                  <a:lnTo>
                    <a:pt x="68" y="135"/>
                  </a:lnTo>
                  <a:lnTo>
                    <a:pt x="68" y="169"/>
                  </a:lnTo>
                  <a:lnTo>
                    <a:pt x="34" y="202"/>
                  </a:lnTo>
                  <a:lnTo>
                    <a:pt x="0" y="270"/>
                  </a:lnTo>
                  <a:lnTo>
                    <a:pt x="34" y="371"/>
                  </a:lnTo>
                  <a:lnTo>
                    <a:pt x="101" y="606"/>
                  </a:lnTo>
                  <a:lnTo>
                    <a:pt x="135" y="674"/>
                  </a:lnTo>
                  <a:lnTo>
                    <a:pt x="202" y="674"/>
                  </a:lnTo>
                  <a:lnTo>
                    <a:pt x="270" y="640"/>
                  </a:lnTo>
                  <a:lnTo>
                    <a:pt x="404" y="404"/>
                  </a:lnTo>
                  <a:lnTo>
                    <a:pt x="438" y="472"/>
                  </a:lnTo>
                  <a:lnTo>
                    <a:pt x="505" y="606"/>
                  </a:lnTo>
                  <a:lnTo>
                    <a:pt x="640" y="674"/>
                  </a:lnTo>
                  <a:lnTo>
                    <a:pt x="707" y="674"/>
                  </a:lnTo>
                  <a:lnTo>
                    <a:pt x="741" y="640"/>
                  </a:lnTo>
                  <a:lnTo>
                    <a:pt x="842" y="371"/>
                  </a:lnTo>
                  <a:lnTo>
                    <a:pt x="943" y="101"/>
                  </a:lnTo>
                  <a:lnTo>
                    <a:pt x="943" y="34"/>
                  </a:lnTo>
                  <a:lnTo>
                    <a:pt x="90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9" name="Google Shape;829;p5"/>
            <p:cNvSpPr/>
            <p:nvPr/>
          </p:nvSpPr>
          <p:spPr>
            <a:xfrm>
              <a:off x="322102" y="157681"/>
              <a:ext cx="125901" cy="119126"/>
            </a:xfrm>
            <a:custGeom>
              <a:avLst/>
              <a:gdLst/>
              <a:ahLst/>
              <a:cxnLst/>
              <a:rect l="l" t="t" r="r" b="b"/>
              <a:pathLst>
                <a:path w="2527" h="2391" extrusionOk="0">
                  <a:moveTo>
                    <a:pt x="2257" y="236"/>
                  </a:moveTo>
                  <a:lnTo>
                    <a:pt x="2257" y="674"/>
                  </a:lnTo>
                  <a:lnTo>
                    <a:pt x="2257" y="1078"/>
                  </a:lnTo>
                  <a:lnTo>
                    <a:pt x="2290" y="1617"/>
                  </a:lnTo>
                  <a:lnTo>
                    <a:pt x="2324" y="2122"/>
                  </a:lnTo>
                  <a:lnTo>
                    <a:pt x="2088" y="2088"/>
                  </a:lnTo>
                  <a:lnTo>
                    <a:pt x="1886" y="2088"/>
                  </a:lnTo>
                  <a:lnTo>
                    <a:pt x="1449" y="2122"/>
                  </a:lnTo>
                  <a:lnTo>
                    <a:pt x="910" y="2122"/>
                  </a:lnTo>
                  <a:lnTo>
                    <a:pt x="641" y="2155"/>
                  </a:lnTo>
                  <a:lnTo>
                    <a:pt x="371" y="2223"/>
                  </a:lnTo>
                  <a:lnTo>
                    <a:pt x="304" y="1684"/>
                  </a:lnTo>
                  <a:lnTo>
                    <a:pt x="237" y="1145"/>
                  </a:lnTo>
                  <a:lnTo>
                    <a:pt x="203" y="708"/>
                  </a:lnTo>
                  <a:lnTo>
                    <a:pt x="136" y="270"/>
                  </a:lnTo>
                  <a:lnTo>
                    <a:pt x="1179" y="270"/>
                  </a:lnTo>
                  <a:lnTo>
                    <a:pt x="2257" y="236"/>
                  </a:lnTo>
                  <a:close/>
                  <a:moveTo>
                    <a:pt x="2223" y="1"/>
                  </a:moveTo>
                  <a:lnTo>
                    <a:pt x="1179" y="34"/>
                  </a:lnTo>
                  <a:lnTo>
                    <a:pt x="641" y="34"/>
                  </a:lnTo>
                  <a:lnTo>
                    <a:pt x="136" y="102"/>
                  </a:lnTo>
                  <a:lnTo>
                    <a:pt x="68" y="135"/>
                  </a:lnTo>
                  <a:lnTo>
                    <a:pt x="35" y="203"/>
                  </a:lnTo>
                  <a:lnTo>
                    <a:pt x="1" y="438"/>
                  </a:lnTo>
                  <a:lnTo>
                    <a:pt x="1" y="674"/>
                  </a:lnTo>
                  <a:lnTo>
                    <a:pt x="35" y="1145"/>
                  </a:lnTo>
                  <a:lnTo>
                    <a:pt x="68" y="1751"/>
                  </a:lnTo>
                  <a:lnTo>
                    <a:pt x="136" y="2021"/>
                  </a:lnTo>
                  <a:lnTo>
                    <a:pt x="203" y="2324"/>
                  </a:lnTo>
                  <a:lnTo>
                    <a:pt x="237" y="2357"/>
                  </a:lnTo>
                  <a:lnTo>
                    <a:pt x="338" y="2357"/>
                  </a:lnTo>
                  <a:lnTo>
                    <a:pt x="573" y="2391"/>
                  </a:lnTo>
                  <a:lnTo>
                    <a:pt x="809" y="2391"/>
                  </a:lnTo>
                  <a:lnTo>
                    <a:pt x="1280" y="2357"/>
                  </a:lnTo>
                  <a:lnTo>
                    <a:pt x="2088" y="2357"/>
                  </a:lnTo>
                  <a:lnTo>
                    <a:pt x="2358" y="2290"/>
                  </a:lnTo>
                  <a:lnTo>
                    <a:pt x="2391" y="2324"/>
                  </a:lnTo>
                  <a:lnTo>
                    <a:pt x="2459" y="2324"/>
                  </a:lnTo>
                  <a:lnTo>
                    <a:pt x="2492" y="2256"/>
                  </a:lnTo>
                  <a:lnTo>
                    <a:pt x="2526" y="2021"/>
                  </a:lnTo>
                  <a:lnTo>
                    <a:pt x="2526" y="1751"/>
                  </a:lnTo>
                  <a:lnTo>
                    <a:pt x="2492" y="1246"/>
                  </a:lnTo>
                  <a:lnTo>
                    <a:pt x="2459" y="640"/>
                  </a:lnTo>
                  <a:lnTo>
                    <a:pt x="2425" y="371"/>
                  </a:lnTo>
                  <a:lnTo>
                    <a:pt x="2358" y="68"/>
                  </a:lnTo>
                  <a:lnTo>
                    <a:pt x="2324" y="34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0" name="Google Shape;830;p5"/>
            <p:cNvSpPr/>
            <p:nvPr/>
          </p:nvSpPr>
          <p:spPr>
            <a:xfrm>
              <a:off x="270138" y="335497"/>
              <a:ext cx="30242" cy="43645"/>
            </a:xfrm>
            <a:custGeom>
              <a:avLst/>
              <a:gdLst/>
              <a:ahLst/>
              <a:cxnLst/>
              <a:rect l="l" t="t" r="r" b="b"/>
              <a:pathLst>
                <a:path w="607" h="876" extrusionOk="0">
                  <a:moveTo>
                    <a:pt x="303" y="0"/>
                  </a:moveTo>
                  <a:lnTo>
                    <a:pt x="236" y="34"/>
                  </a:lnTo>
                  <a:lnTo>
                    <a:pt x="202" y="68"/>
                  </a:lnTo>
                  <a:lnTo>
                    <a:pt x="101" y="472"/>
                  </a:lnTo>
                  <a:lnTo>
                    <a:pt x="34" y="640"/>
                  </a:lnTo>
                  <a:lnTo>
                    <a:pt x="0" y="741"/>
                  </a:lnTo>
                  <a:lnTo>
                    <a:pt x="0" y="808"/>
                  </a:lnTo>
                  <a:lnTo>
                    <a:pt x="34" y="842"/>
                  </a:lnTo>
                  <a:lnTo>
                    <a:pt x="68" y="842"/>
                  </a:lnTo>
                  <a:lnTo>
                    <a:pt x="169" y="775"/>
                  </a:lnTo>
                  <a:lnTo>
                    <a:pt x="202" y="707"/>
                  </a:lnTo>
                  <a:lnTo>
                    <a:pt x="371" y="707"/>
                  </a:lnTo>
                  <a:lnTo>
                    <a:pt x="438" y="842"/>
                  </a:lnTo>
                  <a:lnTo>
                    <a:pt x="472" y="876"/>
                  </a:lnTo>
                  <a:lnTo>
                    <a:pt x="505" y="876"/>
                  </a:lnTo>
                  <a:lnTo>
                    <a:pt x="573" y="842"/>
                  </a:lnTo>
                  <a:lnTo>
                    <a:pt x="573" y="808"/>
                  </a:lnTo>
                  <a:lnTo>
                    <a:pt x="573" y="674"/>
                  </a:lnTo>
                  <a:lnTo>
                    <a:pt x="573" y="640"/>
                  </a:lnTo>
                  <a:lnTo>
                    <a:pt x="606" y="606"/>
                  </a:lnTo>
                  <a:lnTo>
                    <a:pt x="573" y="573"/>
                  </a:lnTo>
                  <a:lnTo>
                    <a:pt x="539" y="573"/>
                  </a:lnTo>
                  <a:lnTo>
                    <a:pt x="505" y="438"/>
                  </a:lnTo>
                  <a:lnTo>
                    <a:pt x="371" y="68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1" name="Google Shape;831;p5"/>
            <p:cNvSpPr/>
            <p:nvPr/>
          </p:nvSpPr>
          <p:spPr>
            <a:xfrm>
              <a:off x="182898" y="159375"/>
              <a:ext cx="122514" cy="134222"/>
            </a:xfrm>
            <a:custGeom>
              <a:avLst/>
              <a:gdLst/>
              <a:ahLst/>
              <a:cxnLst/>
              <a:rect l="l" t="t" r="r" b="b"/>
              <a:pathLst>
                <a:path w="2459" h="2694" extrusionOk="0">
                  <a:moveTo>
                    <a:pt x="2290" y="236"/>
                  </a:moveTo>
                  <a:lnTo>
                    <a:pt x="2223" y="741"/>
                  </a:lnTo>
                  <a:lnTo>
                    <a:pt x="2189" y="1280"/>
                  </a:lnTo>
                  <a:lnTo>
                    <a:pt x="2223" y="1818"/>
                  </a:lnTo>
                  <a:lnTo>
                    <a:pt x="2290" y="2323"/>
                  </a:lnTo>
                  <a:lnTo>
                    <a:pt x="2290" y="2357"/>
                  </a:lnTo>
                  <a:lnTo>
                    <a:pt x="1819" y="2357"/>
                  </a:lnTo>
                  <a:lnTo>
                    <a:pt x="1347" y="2391"/>
                  </a:lnTo>
                  <a:lnTo>
                    <a:pt x="371" y="2391"/>
                  </a:lnTo>
                  <a:lnTo>
                    <a:pt x="270" y="1313"/>
                  </a:lnTo>
                  <a:lnTo>
                    <a:pt x="169" y="270"/>
                  </a:lnTo>
                  <a:lnTo>
                    <a:pt x="708" y="303"/>
                  </a:lnTo>
                  <a:lnTo>
                    <a:pt x="1213" y="303"/>
                  </a:lnTo>
                  <a:lnTo>
                    <a:pt x="2290" y="236"/>
                  </a:lnTo>
                  <a:close/>
                  <a:moveTo>
                    <a:pt x="2290" y="0"/>
                  </a:moveTo>
                  <a:lnTo>
                    <a:pt x="1751" y="34"/>
                  </a:lnTo>
                  <a:lnTo>
                    <a:pt x="1213" y="68"/>
                  </a:lnTo>
                  <a:lnTo>
                    <a:pt x="674" y="68"/>
                  </a:lnTo>
                  <a:lnTo>
                    <a:pt x="135" y="101"/>
                  </a:lnTo>
                  <a:lnTo>
                    <a:pt x="102" y="135"/>
                  </a:lnTo>
                  <a:lnTo>
                    <a:pt x="68" y="169"/>
                  </a:lnTo>
                  <a:lnTo>
                    <a:pt x="34" y="202"/>
                  </a:lnTo>
                  <a:lnTo>
                    <a:pt x="1" y="236"/>
                  </a:lnTo>
                  <a:lnTo>
                    <a:pt x="1" y="842"/>
                  </a:lnTo>
                  <a:lnTo>
                    <a:pt x="1" y="1448"/>
                  </a:lnTo>
                  <a:lnTo>
                    <a:pt x="68" y="2054"/>
                  </a:lnTo>
                  <a:lnTo>
                    <a:pt x="169" y="2626"/>
                  </a:lnTo>
                  <a:lnTo>
                    <a:pt x="236" y="2694"/>
                  </a:lnTo>
                  <a:lnTo>
                    <a:pt x="304" y="2694"/>
                  </a:lnTo>
                  <a:lnTo>
                    <a:pt x="371" y="2660"/>
                  </a:lnTo>
                  <a:lnTo>
                    <a:pt x="405" y="2593"/>
                  </a:lnTo>
                  <a:lnTo>
                    <a:pt x="371" y="2525"/>
                  </a:lnTo>
                  <a:lnTo>
                    <a:pt x="842" y="2593"/>
                  </a:lnTo>
                  <a:lnTo>
                    <a:pt x="1347" y="2626"/>
                  </a:lnTo>
                  <a:lnTo>
                    <a:pt x="1819" y="2593"/>
                  </a:lnTo>
                  <a:lnTo>
                    <a:pt x="2054" y="2559"/>
                  </a:lnTo>
                  <a:lnTo>
                    <a:pt x="2290" y="2525"/>
                  </a:lnTo>
                  <a:lnTo>
                    <a:pt x="2324" y="2458"/>
                  </a:lnTo>
                  <a:lnTo>
                    <a:pt x="2324" y="2391"/>
                  </a:lnTo>
                  <a:lnTo>
                    <a:pt x="2357" y="2424"/>
                  </a:lnTo>
                  <a:lnTo>
                    <a:pt x="2391" y="2424"/>
                  </a:lnTo>
                  <a:lnTo>
                    <a:pt x="2425" y="2391"/>
                  </a:lnTo>
                  <a:lnTo>
                    <a:pt x="2458" y="2323"/>
                  </a:lnTo>
                  <a:lnTo>
                    <a:pt x="2458" y="1818"/>
                  </a:lnTo>
                  <a:lnTo>
                    <a:pt x="2458" y="1246"/>
                  </a:lnTo>
                  <a:lnTo>
                    <a:pt x="2425" y="707"/>
                  </a:lnTo>
                  <a:lnTo>
                    <a:pt x="2357" y="202"/>
                  </a:lnTo>
                  <a:lnTo>
                    <a:pt x="2391" y="135"/>
                  </a:lnTo>
                  <a:lnTo>
                    <a:pt x="2391" y="68"/>
                  </a:lnTo>
                  <a:lnTo>
                    <a:pt x="2357" y="34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2" name="Google Shape;832;p5"/>
            <p:cNvSpPr/>
            <p:nvPr/>
          </p:nvSpPr>
          <p:spPr>
            <a:xfrm>
              <a:off x="481485" y="466331"/>
              <a:ext cx="38612" cy="38612"/>
            </a:xfrm>
            <a:custGeom>
              <a:avLst/>
              <a:gdLst/>
              <a:ahLst/>
              <a:cxnLst/>
              <a:rect l="l" t="t" r="r" b="b"/>
              <a:pathLst>
                <a:path w="775" h="775" extrusionOk="0">
                  <a:moveTo>
                    <a:pt x="674" y="0"/>
                  </a:moveTo>
                  <a:lnTo>
                    <a:pt x="505" y="135"/>
                  </a:lnTo>
                  <a:lnTo>
                    <a:pt x="371" y="236"/>
                  </a:lnTo>
                  <a:lnTo>
                    <a:pt x="169" y="135"/>
                  </a:lnTo>
                  <a:lnTo>
                    <a:pt x="135" y="101"/>
                  </a:lnTo>
                  <a:lnTo>
                    <a:pt x="101" y="135"/>
                  </a:lnTo>
                  <a:lnTo>
                    <a:pt x="68" y="169"/>
                  </a:lnTo>
                  <a:lnTo>
                    <a:pt x="101" y="236"/>
                  </a:lnTo>
                  <a:lnTo>
                    <a:pt x="236" y="371"/>
                  </a:lnTo>
                  <a:lnTo>
                    <a:pt x="135" y="472"/>
                  </a:lnTo>
                  <a:lnTo>
                    <a:pt x="68" y="573"/>
                  </a:lnTo>
                  <a:lnTo>
                    <a:pt x="34" y="606"/>
                  </a:lnTo>
                  <a:lnTo>
                    <a:pt x="0" y="674"/>
                  </a:lnTo>
                  <a:lnTo>
                    <a:pt x="34" y="741"/>
                  </a:lnTo>
                  <a:lnTo>
                    <a:pt x="101" y="775"/>
                  </a:lnTo>
                  <a:lnTo>
                    <a:pt x="202" y="707"/>
                  </a:lnTo>
                  <a:lnTo>
                    <a:pt x="270" y="640"/>
                  </a:lnTo>
                  <a:lnTo>
                    <a:pt x="404" y="472"/>
                  </a:lnTo>
                  <a:lnTo>
                    <a:pt x="640" y="573"/>
                  </a:lnTo>
                  <a:lnTo>
                    <a:pt x="741" y="539"/>
                  </a:lnTo>
                  <a:lnTo>
                    <a:pt x="775" y="472"/>
                  </a:lnTo>
                  <a:lnTo>
                    <a:pt x="775" y="404"/>
                  </a:lnTo>
                  <a:lnTo>
                    <a:pt x="707" y="371"/>
                  </a:lnTo>
                  <a:lnTo>
                    <a:pt x="539" y="337"/>
                  </a:lnTo>
                  <a:lnTo>
                    <a:pt x="606" y="270"/>
                  </a:lnTo>
                  <a:lnTo>
                    <a:pt x="707" y="34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3" name="Google Shape;833;p5"/>
            <p:cNvSpPr/>
            <p:nvPr/>
          </p:nvSpPr>
          <p:spPr>
            <a:xfrm>
              <a:off x="463050" y="150955"/>
              <a:ext cx="127496" cy="120820"/>
            </a:xfrm>
            <a:custGeom>
              <a:avLst/>
              <a:gdLst/>
              <a:ahLst/>
              <a:cxnLst/>
              <a:rect l="l" t="t" r="r" b="b"/>
              <a:pathLst>
                <a:path w="2559" h="2425" extrusionOk="0">
                  <a:moveTo>
                    <a:pt x="168" y="169"/>
                  </a:moveTo>
                  <a:lnTo>
                    <a:pt x="370" y="270"/>
                  </a:lnTo>
                  <a:lnTo>
                    <a:pt x="572" y="304"/>
                  </a:lnTo>
                  <a:lnTo>
                    <a:pt x="1010" y="270"/>
                  </a:lnTo>
                  <a:lnTo>
                    <a:pt x="1650" y="304"/>
                  </a:lnTo>
                  <a:lnTo>
                    <a:pt x="2290" y="338"/>
                  </a:lnTo>
                  <a:lnTo>
                    <a:pt x="2290" y="708"/>
                  </a:lnTo>
                  <a:lnTo>
                    <a:pt x="2323" y="1078"/>
                  </a:lnTo>
                  <a:lnTo>
                    <a:pt x="2323" y="1583"/>
                  </a:lnTo>
                  <a:lnTo>
                    <a:pt x="2323" y="1853"/>
                  </a:lnTo>
                  <a:lnTo>
                    <a:pt x="2391" y="2088"/>
                  </a:lnTo>
                  <a:lnTo>
                    <a:pt x="2357" y="2088"/>
                  </a:lnTo>
                  <a:lnTo>
                    <a:pt x="1313" y="2122"/>
                  </a:lnTo>
                  <a:lnTo>
                    <a:pt x="808" y="2156"/>
                  </a:lnTo>
                  <a:lnTo>
                    <a:pt x="539" y="2189"/>
                  </a:lnTo>
                  <a:lnTo>
                    <a:pt x="303" y="2223"/>
                  </a:lnTo>
                  <a:lnTo>
                    <a:pt x="236" y="1718"/>
                  </a:lnTo>
                  <a:lnTo>
                    <a:pt x="236" y="1213"/>
                  </a:lnTo>
                  <a:lnTo>
                    <a:pt x="269" y="708"/>
                  </a:lnTo>
                  <a:lnTo>
                    <a:pt x="236" y="439"/>
                  </a:lnTo>
                  <a:lnTo>
                    <a:pt x="202" y="304"/>
                  </a:lnTo>
                  <a:lnTo>
                    <a:pt x="168" y="169"/>
                  </a:lnTo>
                  <a:close/>
                  <a:moveTo>
                    <a:pt x="2357" y="1"/>
                  </a:moveTo>
                  <a:lnTo>
                    <a:pt x="2357" y="35"/>
                  </a:lnTo>
                  <a:lnTo>
                    <a:pt x="2323" y="136"/>
                  </a:lnTo>
                  <a:lnTo>
                    <a:pt x="1751" y="68"/>
                  </a:lnTo>
                  <a:lnTo>
                    <a:pt x="1178" y="68"/>
                  </a:lnTo>
                  <a:lnTo>
                    <a:pt x="640" y="35"/>
                  </a:lnTo>
                  <a:lnTo>
                    <a:pt x="404" y="68"/>
                  </a:lnTo>
                  <a:lnTo>
                    <a:pt x="269" y="102"/>
                  </a:lnTo>
                  <a:lnTo>
                    <a:pt x="168" y="169"/>
                  </a:lnTo>
                  <a:lnTo>
                    <a:pt x="135" y="169"/>
                  </a:lnTo>
                  <a:lnTo>
                    <a:pt x="67" y="338"/>
                  </a:lnTo>
                  <a:lnTo>
                    <a:pt x="34" y="506"/>
                  </a:lnTo>
                  <a:lnTo>
                    <a:pt x="0" y="876"/>
                  </a:lnTo>
                  <a:lnTo>
                    <a:pt x="34" y="1583"/>
                  </a:lnTo>
                  <a:lnTo>
                    <a:pt x="34" y="1819"/>
                  </a:lnTo>
                  <a:lnTo>
                    <a:pt x="34" y="2055"/>
                  </a:lnTo>
                  <a:lnTo>
                    <a:pt x="34" y="2189"/>
                  </a:lnTo>
                  <a:lnTo>
                    <a:pt x="67" y="2290"/>
                  </a:lnTo>
                  <a:lnTo>
                    <a:pt x="135" y="2358"/>
                  </a:lnTo>
                  <a:lnTo>
                    <a:pt x="236" y="2425"/>
                  </a:lnTo>
                  <a:lnTo>
                    <a:pt x="303" y="2425"/>
                  </a:lnTo>
                  <a:lnTo>
                    <a:pt x="303" y="2358"/>
                  </a:lnTo>
                  <a:lnTo>
                    <a:pt x="572" y="2391"/>
                  </a:lnTo>
                  <a:lnTo>
                    <a:pt x="808" y="2425"/>
                  </a:lnTo>
                  <a:lnTo>
                    <a:pt x="1347" y="2391"/>
                  </a:lnTo>
                  <a:lnTo>
                    <a:pt x="2357" y="2324"/>
                  </a:lnTo>
                  <a:lnTo>
                    <a:pt x="2424" y="2290"/>
                  </a:lnTo>
                  <a:lnTo>
                    <a:pt x="2492" y="2324"/>
                  </a:lnTo>
                  <a:lnTo>
                    <a:pt x="2525" y="2324"/>
                  </a:lnTo>
                  <a:lnTo>
                    <a:pt x="2525" y="2290"/>
                  </a:lnTo>
                  <a:lnTo>
                    <a:pt x="2559" y="2021"/>
                  </a:lnTo>
                  <a:lnTo>
                    <a:pt x="2559" y="1752"/>
                  </a:lnTo>
                  <a:lnTo>
                    <a:pt x="2525" y="1247"/>
                  </a:lnTo>
                  <a:lnTo>
                    <a:pt x="2492" y="641"/>
                  </a:lnTo>
                  <a:lnTo>
                    <a:pt x="2492" y="338"/>
                  </a:lnTo>
                  <a:lnTo>
                    <a:pt x="2458" y="35"/>
                  </a:lnTo>
                  <a:lnTo>
                    <a:pt x="242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4" name="Google Shape;834;p5"/>
            <p:cNvSpPr/>
            <p:nvPr/>
          </p:nvSpPr>
          <p:spPr>
            <a:xfrm>
              <a:off x="513371" y="199631"/>
              <a:ext cx="31886" cy="38612"/>
            </a:xfrm>
            <a:custGeom>
              <a:avLst/>
              <a:gdLst/>
              <a:ahLst/>
              <a:cxnLst/>
              <a:rect l="l" t="t" r="r" b="b"/>
              <a:pathLst>
                <a:path w="640" h="775" extrusionOk="0">
                  <a:moveTo>
                    <a:pt x="101" y="0"/>
                  </a:moveTo>
                  <a:lnTo>
                    <a:pt x="67" y="34"/>
                  </a:lnTo>
                  <a:lnTo>
                    <a:pt x="34" y="337"/>
                  </a:lnTo>
                  <a:lnTo>
                    <a:pt x="34" y="606"/>
                  </a:lnTo>
                  <a:lnTo>
                    <a:pt x="67" y="640"/>
                  </a:lnTo>
                  <a:lnTo>
                    <a:pt x="67" y="674"/>
                  </a:lnTo>
                  <a:lnTo>
                    <a:pt x="0" y="674"/>
                  </a:lnTo>
                  <a:lnTo>
                    <a:pt x="0" y="707"/>
                  </a:lnTo>
                  <a:lnTo>
                    <a:pt x="168" y="775"/>
                  </a:lnTo>
                  <a:lnTo>
                    <a:pt x="370" y="775"/>
                  </a:lnTo>
                  <a:lnTo>
                    <a:pt x="505" y="741"/>
                  </a:lnTo>
                  <a:lnTo>
                    <a:pt x="573" y="707"/>
                  </a:lnTo>
                  <a:lnTo>
                    <a:pt x="640" y="674"/>
                  </a:lnTo>
                  <a:lnTo>
                    <a:pt x="640" y="640"/>
                  </a:lnTo>
                  <a:lnTo>
                    <a:pt x="606" y="606"/>
                  </a:lnTo>
                  <a:lnTo>
                    <a:pt x="539" y="573"/>
                  </a:lnTo>
                  <a:lnTo>
                    <a:pt x="472" y="606"/>
                  </a:lnTo>
                  <a:lnTo>
                    <a:pt x="337" y="640"/>
                  </a:lnTo>
                  <a:lnTo>
                    <a:pt x="168" y="674"/>
                  </a:lnTo>
                  <a:lnTo>
                    <a:pt x="168" y="606"/>
                  </a:lnTo>
                  <a:lnTo>
                    <a:pt x="168" y="371"/>
                  </a:lnTo>
                  <a:lnTo>
                    <a:pt x="236" y="404"/>
                  </a:lnTo>
                  <a:lnTo>
                    <a:pt x="472" y="404"/>
                  </a:lnTo>
                  <a:lnTo>
                    <a:pt x="505" y="337"/>
                  </a:lnTo>
                  <a:lnTo>
                    <a:pt x="505" y="303"/>
                  </a:lnTo>
                  <a:lnTo>
                    <a:pt x="472" y="236"/>
                  </a:lnTo>
                  <a:lnTo>
                    <a:pt x="202" y="236"/>
                  </a:lnTo>
                  <a:lnTo>
                    <a:pt x="168" y="270"/>
                  </a:lnTo>
                  <a:lnTo>
                    <a:pt x="135" y="34"/>
                  </a:lnTo>
                  <a:lnTo>
                    <a:pt x="101" y="34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5" name="Google Shape;835;p5"/>
            <p:cNvSpPr/>
            <p:nvPr/>
          </p:nvSpPr>
          <p:spPr>
            <a:xfrm>
              <a:off x="404310" y="337191"/>
              <a:ext cx="30242" cy="43645"/>
            </a:xfrm>
            <a:custGeom>
              <a:avLst/>
              <a:gdLst/>
              <a:ahLst/>
              <a:cxnLst/>
              <a:rect l="l" t="t" r="r" b="b"/>
              <a:pathLst>
                <a:path w="607" h="876" extrusionOk="0">
                  <a:moveTo>
                    <a:pt x="371" y="0"/>
                  </a:moveTo>
                  <a:lnTo>
                    <a:pt x="304" y="34"/>
                  </a:lnTo>
                  <a:lnTo>
                    <a:pt x="169" y="67"/>
                  </a:lnTo>
                  <a:lnTo>
                    <a:pt x="102" y="135"/>
                  </a:lnTo>
                  <a:lnTo>
                    <a:pt x="102" y="168"/>
                  </a:lnTo>
                  <a:lnTo>
                    <a:pt x="68" y="269"/>
                  </a:lnTo>
                  <a:lnTo>
                    <a:pt x="68" y="337"/>
                  </a:lnTo>
                  <a:lnTo>
                    <a:pt x="135" y="438"/>
                  </a:lnTo>
                  <a:lnTo>
                    <a:pt x="270" y="505"/>
                  </a:lnTo>
                  <a:lnTo>
                    <a:pt x="405" y="539"/>
                  </a:lnTo>
                  <a:lnTo>
                    <a:pt x="405" y="606"/>
                  </a:lnTo>
                  <a:lnTo>
                    <a:pt x="337" y="673"/>
                  </a:lnTo>
                  <a:lnTo>
                    <a:pt x="304" y="707"/>
                  </a:lnTo>
                  <a:lnTo>
                    <a:pt x="236" y="673"/>
                  </a:lnTo>
                  <a:lnTo>
                    <a:pt x="135" y="640"/>
                  </a:lnTo>
                  <a:lnTo>
                    <a:pt x="34" y="640"/>
                  </a:lnTo>
                  <a:lnTo>
                    <a:pt x="1" y="673"/>
                  </a:lnTo>
                  <a:lnTo>
                    <a:pt x="1" y="741"/>
                  </a:lnTo>
                  <a:lnTo>
                    <a:pt x="34" y="774"/>
                  </a:lnTo>
                  <a:lnTo>
                    <a:pt x="135" y="842"/>
                  </a:lnTo>
                  <a:lnTo>
                    <a:pt x="236" y="875"/>
                  </a:lnTo>
                  <a:lnTo>
                    <a:pt x="337" y="875"/>
                  </a:lnTo>
                  <a:lnTo>
                    <a:pt x="438" y="808"/>
                  </a:lnTo>
                  <a:lnTo>
                    <a:pt x="539" y="741"/>
                  </a:lnTo>
                  <a:lnTo>
                    <a:pt x="573" y="640"/>
                  </a:lnTo>
                  <a:lnTo>
                    <a:pt x="607" y="539"/>
                  </a:lnTo>
                  <a:lnTo>
                    <a:pt x="573" y="438"/>
                  </a:lnTo>
                  <a:lnTo>
                    <a:pt x="539" y="404"/>
                  </a:lnTo>
                  <a:lnTo>
                    <a:pt x="472" y="370"/>
                  </a:lnTo>
                  <a:lnTo>
                    <a:pt x="337" y="337"/>
                  </a:lnTo>
                  <a:lnTo>
                    <a:pt x="304" y="303"/>
                  </a:lnTo>
                  <a:lnTo>
                    <a:pt x="270" y="269"/>
                  </a:lnTo>
                  <a:lnTo>
                    <a:pt x="270" y="202"/>
                  </a:lnTo>
                  <a:lnTo>
                    <a:pt x="337" y="168"/>
                  </a:lnTo>
                  <a:lnTo>
                    <a:pt x="506" y="168"/>
                  </a:lnTo>
                  <a:lnTo>
                    <a:pt x="506" y="135"/>
                  </a:lnTo>
                  <a:lnTo>
                    <a:pt x="472" y="67"/>
                  </a:lnTo>
                  <a:lnTo>
                    <a:pt x="438" y="34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6" name="Google Shape;836;p5"/>
            <p:cNvSpPr/>
            <p:nvPr/>
          </p:nvSpPr>
          <p:spPr>
            <a:xfrm>
              <a:off x="355683" y="291853"/>
              <a:ext cx="122514" cy="120869"/>
            </a:xfrm>
            <a:custGeom>
              <a:avLst/>
              <a:gdLst/>
              <a:ahLst/>
              <a:cxnLst/>
              <a:rect l="l" t="t" r="r" b="b"/>
              <a:pathLst>
                <a:path w="2459" h="2426" extrusionOk="0">
                  <a:moveTo>
                    <a:pt x="2290" y="203"/>
                  </a:moveTo>
                  <a:lnTo>
                    <a:pt x="2256" y="641"/>
                  </a:lnTo>
                  <a:lnTo>
                    <a:pt x="2256" y="1078"/>
                  </a:lnTo>
                  <a:lnTo>
                    <a:pt x="2222" y="1617"/>
                  </a:lnTo>
                  <a:lnTo>
                    <a:pt x="2222" y="2156"/>
                  </a:lnTo>
                  <a:lnTo>
                    <a:pt x="1953" y="2122"/>
                  </a:lnTo>
                  <a:lnTo>
                    <a:pt x="1684" y="2088"/>
                  </a:lnTo>
                  <a:lnTo>
                    <a:pt x="1145" y="2122"/>
                  </a:lnTo>
                  <a:lnTo>
                    <a:pt x="707" y="2156"/>
                  </a:lnTo>
                  <a:lnTo>
                    <a:pt x="472" y="2156"/>
                  </a:lnTo>
                  <a:lnTo>
                    <a:pt x="270" y="2223"/>
                  </a:lnTo>
                  <a:lnTo>
                    <a:pt x="270" y="1684"/>
                  </a:lnTo>
                  <a:lnTo>
                    <a:pt x="236" y="1179"/>
                  </a:lnTo>
                  <a:lnTo>
                    <a:pt x="202" y="742"/>
                  </a:lnTo>
                  <a:lnTo>
                    <a:pt x="202" y="304"/>
                  </a:lnTo>
                  <a:lnTo>
                    <a:pt x="1246" y="270"/>
                  </a:lnTo>
                  <a:lnTo>
                    <a:pt x="1751" y="237"/>
                  </a:lnTo>
                  <a:lnTo>
                    <a:pt x="2290" y="203"/>
                  </a:lnTo>
                  <a:close/>
                  <a:moveTo>
                    <a:pt x="1751" y="1"/>
                  </a:moveTo>
                  <a:lnTo>
                    <a:pt x="1212" y="35"/>
                  </a:lnTo>
                  <a:lnTo>
                    <a:pt x="169" y="102"/>
                  </a:lnTo>
                  <a:lnTo>
                    <a:pt x="135" y="102"/>
                  </a:lnTo>
                  <a:lnTo>
                    <a:pt x="101" y="136"/>
                  </a:lnTo>
                  <a:lnTo>
                    <a:pt x="68" y="169"/>
                  </a:lnTo>
                  <a:lnTo>
                    <a:pt x="0" y="439"/>
                  </a:lnTo>
                  <a:lnTo>
                    <a:pt x="0" y="742"/>
                  </a:lnTo>
                  <a:lnTo>
                    <a:pt x="34" y="1348"/>
                  </a:lnTo>
                  <a:lnTo>
                    <a:pt x="34" y="1853"/>
                  </a:lnTo>
                  <a:lnTo>
                    <a:pt x="68" y="2122"/>
                  </a:lnTo>
                  <a:lnTo>
                    <a:pt x="101" y="2358"/>
                  </a:lnTo>
                  <a:lnTo>
                    <a:pt x="135" y="2391"/>
                  </a:lnTo>
                  <a:lnTo>
                    <a:pt x="169" y="2425"/>
                  </a:lnTo>
                  <a:lnTo>
                    <a:pt x="202" y="2425"/>
                  </a:lnTo>
                  <a:lnTo>
                    <a:pt x="236" y="2391"/>
                  </a:lnTo>
                  <a:lnTo>
                    <a:pt x="775" y="2391"/>
                  </a:lnTo>
                  <a:lnTo>
                    <a:pt x="1313" y="2358"/>
                  </a:lnTo>
                  <a:lnTo>
                    <a:pt x="1785" y="2358"/>
                  </a:lnTo>
                  <a:lnTo>
                    <a:pt x="2020" y="2324"/>
                  </a:lnTo>
                  <a:lnTo>
                    <a:pt x="2256" y="2290"/>
                  </a:lnTo>
                  <a:lnTo>
                    <a:pt x="2256" y="2257"/>
                  </a:lnTo>
                  <a:lnTo>
                    <a:pt x="2323" y="2290"/>
                  </a:lnTo>
                  <a:lnTo>
                    <a:pt x="2357" y="2257"/>
                  </a:lnTo>
                  <a:lnTo>
                    <a:pt x="2391" y="2223"/>
                  </a:lnTo>
                  <a:lnTo>
                    <a:pt x="2424" y="1954"/>
                  </a:lnTo>
                  <a:lnTo>
                    <a:pt x="2458" y="1651"/>
                  </a:lnTo>
                  <a:lnTo>
                    <a:pt x="2458" y="1045"/>
                  </a:lnTo>
                  <a:lnTo>
                    <a:pt x="2458" y="573"/>
                  </a:lnTo>
                  <a:lnTo>
                    <a:pt x="2424" y="338"/>
                  </a:lnTo>
                  <a:lnTo>
                    <a:pt x="2357" y="102"/>
                  </a:lnTo>
                  <a:lnTo>
                    <a:pt x="2357" y="35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7" name="Google Shape;837;p5"/>
            <p:cNvSpPr/>
            <p:nvPr/>
          </p:nvSpPr>
          <p:spPr>
            <a:xfrm>
              <a:off x="250009" y="-7"/>
              <a:ext cx="10114" cy="16840"/>
            </a:xfrm>
            <a:custGeom>
              <a:avLst/>
              <a:gdLst/>
              <a:ahLst/>
              <a:cxnLst/>
              <a:rect l="l" t="t" r="r" b="b"/>
              <a:pathLst>
                <a:path w="203" h="338" extrusionOk="0">
                  <a:moveTo>
                    <a:pt x="0" y="1"/>
                  </a:moveTo>
                  <a:lnTo>
                    <a:pt x="68" y="270"/>
                  </a:lnTo>
                  <a:lnTo>
                    <a:pt x="101" y="304"/>
                  </a:lnTo>
                  <a:lnTo>
                    <a:pt x="135" y="337"/>
                  </a:lnTo>
                  <a:lnTo>
                    <a:pt x="202" y="304"/>
                  </a:lnTo>
                  <a:lnTo>
                    <a:pt x="202" y="236"/>
                  </a:lnTo>
                  <a:lnTo>
                    <a:pt x="2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8" name="Google Shape;838;p5"/>
            <p:cNvSpPr/>
            <p:nvPr/>
          </p:nvSpPr>
          <p:spPr>
            <a:xfrm>
              <a:off x="50" y="33573"/>
              <a:ext cx="83951" cy="130884"/>
            </a:xfrm>
            <a:custGeom>
              <a:avLst/>
              <a:gdLst/>
              <a:ahLst/>
              <a:cxnLst/>
              <a:rect l="l" t="t" r="r" b="b"/>
              <a:pathLst>
                <a:path w="1685" h="2627" extrusionOk="0">
                  <a:moveTo>
                    <a:pt x="1516" y="0"/>
                  </a:moveTo>
                  <a:lnTo>
                    <a:pt x="775" y="34"/>
                  </a:lnTo>
                  <a:lnTo>
                    <a:pt x="1" y="67"/>
                  </a:lnTo>
                  <a:lnTo>
                    <a:pt x="1" y="269"/>
                  </a:lnTo>
                  <a:lnTo>
                    <a:pt x="741" y="269"/>
                  </a:lnTo>
                  <a:lnTo>
                    <a:pt x="1516" y="202"/>
                  </a:lnTo>
                  <a:lnTo>
                    <a:pt x="1448" y="741"/>
                  </a:lnTo>
                  <a:lnTo>
                    <a:pt x="1415" y="1279"/>
                  </a:lnTo>
                  <a:lnTo>
                    <a:pt x="1448" y="1818"/>
                  </a:lnTo>
                  <a:lnTo>
                    <a:pt x="1516" y="2323"/>
                  </a:lnTo>
                  <a:lnTo>
                    <a:pt x="1516" y="2357"/>
                  </a:lnTo>
                  <a:lnTo>
                    <a:pt x="1482" y="2357"/>
                  </a:lnTo>
                  <a:lnTo>
                    <a:pt x="1280" y="2323"/>
                  </a:lnTo>
                  <a:lnTo>
                    <a:pt x="1044" y="2357"/>
                  </a:lnTo>
                  <a:lnTo>
                    <a:pt x="1" y="2357"/>
                  </a:lnTo>
                  <a:lnTo>
                    <a:pt x="1" y="2593"/>
                  </a:lnTo>
                  <a:lnTo>
                    <a:pt x="371" y="2626"/>
                  </a:lnTo>
                  <a:lnTo>
                    <a:pt x="775" y="2626"/>
                  </a:lnTo>
                  <a:lnTo>
                    <a:pt x="1145" y="2593"/>
                  </a:lnTo>
                  <a:lnTo>
                    <a:pt x="1516" y="2492"/>
                  </a:lnTo>
                  <a:lnTo>
                    <a:pt x="1549" y="2458"/>
                  </a:lnTo>
                  <a:lnTo>
                    <a:pt x="1549" y="2391"/>
                  </a:lnTo>
                  <a:lnTo>
                    <a:pt x="1650" y="2391"/>
                  </a:lnTo>
                  <a:lnTo>
                    <a:pt x="1684" y="2357"/>
                  </a:lnTo>
                  <a:lnTo>
                    <a:pt x="1684" y="2323"/>
                  </a:lnTo>
                  <a:lnTo>
                    <a:pt x="1684" y="1784"/>
                  </a:lnTo>
                  <a:lnTo>
                    <a:pt x="1684" y="1246"/>
                  </a:lnTo>
                  <a:lnTo>
                    <a:pt x="1650" y="707"/>
                  </a:lnTo>
                  <a:lnTo>
                    <a:pt x="1583" y="168"/>
                  </a:lnTo>
                  <a:lnTo>
                    <a:pt x="1617" y="135"/>
                  </a:lnTo>
                  <a:lnTo>
                    <a:pt x="1617" y="67"/>
                  </a:lnTo>
                  <a:lnTo>
                    <a:pt x="1583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9" name="Google Shape;839;p5"/>
            <p:cNvSpPr/>
            <p:nvPr/>
          </p:nvSpPr>
          <p:spPr>
            <a:xfrm>
              <a:off x="50" y="233162"/>
              <a:ext cx="53758" cy="43645"/>
            </a:xfrm>
            <a:custGeom>
              <a:avLst/>
              <a:gdLst/>
              <a:ahLst/>
              <a:cxnLst/>
              <a:rect l="l" t="t" r="r" b="b"/>
              <a:pathLst>
                <a:path w="1079" h="876" extrusionOk="0">
                  <a:moveTo>
                    <a:pt x="943" y="1"/>
                  </a:moveTo>
                  <a:lnTo>
                    <a:pt x="910" y="34"/>
                  </a:lnTo>
                  <a:lnTo>
                    <a:pt x="910" y="203"/>
                  </a:lnTo>
                  <a:lnTo>
                    <a:pt x="910" y="405"/>
                  </a:lnTo>
                  <a:lnTo>
                    <a:pt x="910" y="472"/>
                  </a:lnTo>
                  <a:lnTo>
                    <a:pt x="876" y="438"/>
                  </a:lnTo>
                  <a:lnTo>
                    <a:pt x="708" y="337"/>
                  </a:lnTo>
                  <a:lnTo>
                    <a:pt x="573" y="169"/>
                  </a:lnTo>
                  <a:lnTo>
                    <a:pt x="438" y="169"/>
                  </a:lnTo>
                  <a:lnTo>
                    <a:pt x="405" y="236"/>
                  </a:lnTo>
                  <a:lnTo>
                    <a:pt x="405" y="304"/>
                  </a:lnTo>
                  <a:lnTo>
                    <a:pt x="438" y="337"/>
                  </a:lnTo>
                  <a:lnTo>
                    <a:pt x="539" y="472"/>
                  </a:lnTo>
                  <a:lnTo>
                    <a:pt x="539" y="472"/>
                  </a:lnTo>
                  <a:lnTo>
                    <a:pt x="337" y="438"/>
                  </a:lnTo>
                  <a:lnTo>
                    <a:pt x="68" y="438"/>
                  </a:lnTo>
                  <a:lnTo>
                    <a:pt x="1" y="472"/>
                  </a:lnTo>
                  <a:lnTo>
                    <a:pt x="1" y="539"/>
                  </a:lnTo>
                  <a:lnTo>
                    <a:pt x="135" y="607"/>
                  </a:lnTo>
                  <a:lnTo>
                    <a:pt x="270" y="607"/>
                  </a:lnTo>
                  <a:lnTo>
                    <a:pt x="573" y="640"/>
                  </a:lnTo>
                  <a:lnTo>
                    <a:pt x="438" y="708"/>
                  </a:lnTo>
                  <a:lnTo>
                    <a:pt x="371" y="741"/>
                  </a:lnTo>
                  <a:lnTo>
                    <a:pt x="405" y="809"/>
                  </a:lnTo>
                  <a:lnTo>
                    <a:pt x="438" y="876"/>
                  </a:lnTo>
                  <a:lnTo>
                    <a:pt x="506" y="876"/>
                  </a:lnTo>
                  <a:lnTo>
                    <a:pt x="708" y="775"/>
                  </a:lnTo>
                  <a:lnTo>
                    <a:pt x="910" y="607"/>
                  </a:lnTo>
                  <a:lnTo>
                    <a:pt x="910" y="809"/>
                  </a:lnTo>
                  <a:lnTo>
                    <a:pt x="943" y="842"/>
                  </a:lnTo>
                  <a:lnTo>
                    <a:pt x="1011" y="876"/>
                  </a:lnTo>
                  <a:lnTo>
                    <a:pt x="1078" y="842"/>
                  </a:lnTo>
                  <a:lnTo>
                    <a:pt x="1078" y="775"/>
                  </a:lnTo>
                  <a:lnTo>
                    <a:pt x="1078" y="371"/>
                  </a:lnTo>
                  <a:lnTo>
                    <a:pt x="1044" y="203"/>
                  </a:lnTo>
                  <a:lnTo>
                    <a:pt x="1011" y="34"/>
                  </a:lnTo>
                  <a:lnTo>
                    <a:pt x="101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0" name="Google Shape;840;p5"/>
            <p:cNvSpPr/>
            <p:nvPr/>
          </p:nvSpPr>
          <p:spPr>
            <a:xfrm>
              <a:off x="293604" y="80506"/>
              <a:ext cx="38612" cy="45338"/>
            </a:xfrm>
            <a:custGeom>
              <a:avLst/>
              <a:gdLst/>
              <a:ahLst/>
              <a:cxnLst/>
              <a:rect l="l" t="t" r="r" b="b"/>
              <a:pathLst>
                <a:path w="775" h="910" extrusionOk="0">
                  <a:moveTo>
                    <a:pt x="371" y="1"/>
                  </a:moveTo>
                  <a:lnTo>
                    <a:pt x="270" y="34"/>
                  </a:lnTo>
                  <a:lnTo>
                    <a:pt x="135" y="102"/>
                  </a:lnTo>
                  <a:lnTo>
                    <a:pt x="102" y="135"/>
                  </a:lnTo>
                  <a:lnTo>
                    <a:pt x="102" y="203"/>
                  </a:lnTo>
                  <a:lnTo>
                    <a:pt x="102" y="270"/>
                  </a:lnTo>
                  <a:lnTo>
                    <a:pt x="169" y="270"/>
                  </a:lnTo>
                  <a:lnTo>
                    <a:pt x="371" y="203"/>
                  </a:lnTo>
                  <a:lnTo>
                    <a:pt x="371" y="203"/>
                  </a:lnTo>
                  <a:lnTo>
                    <a:pt x="203" y="472"/>
                  </a:lnTo>
                  <a:lnTo>
                    <a:pt x="34" y="741"/>
                  </a:lnTo>
                  <a:lnTo>
                    <a:pt x="1" y="775"/>
                  </a:lnTo>
                  <a:lnTo>
                    <a:pt x="34" y="842"/>
                  </a:lnTo>
                  <a:lnTo>
                    <a:pt x="68" y="876"/>
                  </a:lnTo>
                  <a:lnTo>
                    <a:pt x="102" y="910"/>
                  </a:lnTo>
                  <a:lnTo>
                    <a:pt x="438" y="842"/>
                  </a:lnTo>
                  <a:lnTo>
                    <a:pt x="573" y="842"/>
                  </a:lnTo>
                  <a:lnTo>
                    <a:pt x="741" y="775"/>
                  </a:lnTo>
                  <a:lnTo>
                    <a:pt x="775" y="741"/>
                  </a:lnTo>
                  <a:lnTo>
                    <a:pt x="775" y="708"/>
                  </a:lnTo>
                  <a:lnTo>
                    <a:pt x="741" y="674"/>
                  </a:lnTo>
                  <a:lnTo>
                    <a:pt x="708" y="640"/>
                  </a:lnTo>
                  <a:lnTo>
                    <a:pt x="573" y="640"/>
                  </a:lnTo>
                  <a:lnTo>
                    <a:pt x="405" y="674"/>
                  </a:lnTo>
                  <a:lnTo>
                    <a:pt x="304" y="674"/>
                  </a:lnTo>
                  <a:lnTo>
                    <a:pt x="472" y="405"/>
                  </a:lnTo>
                  <a:lnTo>
                    <a:pt x="573" y="135"/>
                  </a:lnTo>
                  <a:lnTo>
                    <a:pt x="573" y="68"/>
                  </a:lnTo>
                  <a:lnTo>
                    <a:pt x="506" y="34"/>
                  </a:lnTo>
                  <a:lnTo>
                    <a:pt x="37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1" name="Google Shape;841;p5"/>
            <p:cNvSpPr/>
            <p:nvPr/>
          </p:nvSpPr>
          <p:spPr>
            <a:xfrm>
              <a:off x="241589" y="25153"/>
              <a:ext cx="127546" cy="120820"/>
            </a:xfrm>
            <a:custGeom>
              <a:avLst/>
              <a:gdLst/>
              <a:ahLst/>
              <a:cxnLst/>
              <a:rect l="l" t="t" r="r" b="b"/>
              <a:pathLst>
                <a:path w="2560" h="2425" extrusionOk="0">
                  <a:moveTo>
                    <a:pt x="169" y="169"/>
                  </a:moveTo>
                  <a:lnTo>
                    <a:pt x="371" y="236"/>
                  </a:lnTo>
                  <a:lnTo>
                    <a:pt x="573" y="270"/>
                  </a:lnTo>
                  <a:lnTo>
                    <a:pt x="1011" y="270"/>
                  </a:lnTo>
                  <a:lnTo>
                    <a:pt x="1651" y="304"/>
                  </a:lnTo>
                  <a:lnTo>
                    <a:pt x="2290" y="304"/>
                  </a:lnTo>
                  <a:lnTo>
                    <a:pt x="2290" y="674"/>
                  </a:lnTo>
                  <a:lnTo>
                    <a:pt x="2324" y="1078"/>
                  </a:lnTo>
                  <a:lnTo>
                    <a:pt x="2324" y="1583"/>
                  </a:lnTo>
                  <a:lnTo>
                    <a:pt x="2358" y="1819"/>
                  </a:lnTo>
                  <a:lnTo>
                    <a:pt x="2391" y="2088"/>
                  </a:lnTo>
                  <a:lnTo>
                    <a:pt x="1314" y="2088"/>
                  </a:lnTo>
                  <a:lnTo>
                    <a:pt x="809" y="2122"/>
                  </a:lnTo>
                  <a:lnTo>
                    <a:pt x="540" y="2156"/>
                  </a:lnTo>
                  <a:lnTo>
                    <a:pt x="304" y="2223"/>
                  </a:lnTo>
                  <a:lnTo>
                    <a:pt x="270" y="1718"/>
                  </a:lnTo>
                  <a:lnTo>
                    <a:pt x="237" y="1213"/>
                  </a:lnTo>
                  <a:lnTo>
                    <a:pt x="270" y="674"/>
                  </a:lnTo>
                  <a:lnTo>
                    <a:pt x="237" y="405"/>
                  </a:lnTo>
                  <a:lnTo>
                    <a:pt x="203" y="304"/>
                  </a:lnTo>
                  <a:lnTo>
                    <a:pt x="169" y="169"/>
                  </a:lnTo>
                  <a:close/>
                  <a:moveTo>
                    <a:pt x="2358" y="1"/>
                  </a:moveTo>
                  <a:lnTo>
                    <a:pt x="2358" y="34"/>
                  </a:lnTo>
                  <a:lnTo>
                    <a:pt x="2324" y="102"/>
                  </a:lnTo>
                  <a:lnTo>
                    <a:pt x="1752" y="68"/>
                  </a:lnTo>
                  <a:lnTo>
                    <a:pt x="1179" y="34"/>
                  </a:lnTo>
                  <a:lnTo>
                    <a:pt x="641" y="34"/>
                  </a:lnTo>
                  <a:lnTo>
                    <a:pt x="405" y="68"/>
                  </a:lnTo>
                  <a:lnTo>
                    <a:pt x="270" y="102"/>
                  </a:lnTo>
                  <a:lnTo>
                    <a:pt x="169" y="169"/>
                  </a:lnTo>
                  <a:lnTo>
                    <a:pt x="136" y="169"/>
                  </a:lnTo>
                  <a:lnTo>
                    <a:pt x="68" y="304"/>
                  </a:lnTo>
                  <a:lnTo>
                    <a:pt x="35" y="472"/>
                  </a:lnTo>
                  <a:lnTo>
                    <a:pt x="1" y="842"/>
                  </a:lnTo>
                  <a:lnTo>
                    <a:pt x="35" y="1583"/>
                  </a:lnTo>
                  <a:lnTo>
                    <a:pt x="35" y="1785"/>
                  </a:lnTo>
                  <a:lnTo>
                    <a:pt x="35" y="2054"/>
                  </a:lnTo>
                  <a:lnTo>
                    <a:pt x="35" y="2156"/>
                  </a:lnTo>
                  <a:lnTo>
                    <a:pt x="68" y="2290"/>
                  </a:lnTo>
                  <a:lnTo>
                    <a:pt x="136" y="2358"/>
                  </a:lnTo>
                  <a:lnTo>
                    <a:pt x="237" y="2425"/>
                  </a:lnTo>
                  <a:lnTo>
                    <a:pt x="304" y="2391"/>
                  </a:lnTo>
                  <a:lnTo>
                    <a:pt x="304" y="2358"/>
                  </a:lnTo>
                  <a:lnTo>
                    <a:pt x="573" y="2391"/>
                  </a:lnTo>
                  <a:lnTo>
                    <a:pt x="1348" y="2391"/>
                  </a:lnTo>
                  <a:lnTo>
                    <a:pt x="2391" y="2290"/>
                  </a:lnTo>
                  <a:lnTo>
                    <a:pt x="2526" y="2290"/>
                  </a:lnTo>
                  <a:lnTo>
                    <a:pt x="2526" y="2257"/>
                  </a:lnTo>
                  <a:lnTo>
                    <a:pt x="2560" y="2021"/>
                  </a:lnTo>
                  <a:lnTo>
                    <a:pt x="2560" y="1751"/>
                  </a:lnTo>
                  <a:lnTo>
                    <a:pt x="2526" y="1213"/>
                  </a:lnTo>
                  <a:lnTo>
                    <a:pt x="2492" y="607"/>
                  </a:lnTo>
                  <a:lnTo>
                    <a:pt x="2492" y="304"/>
                  </a:lnTo>
                  <a:lnTo>
                    <a:pt x="2459" y="34"/>
                  </a:lnTo>
                  <a:lnTo>
                    <a:pt x="242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2" name="Google Shape;842;p5"/>
            <p:cNvSpPr/>
            <p:nvPr/>
          </p:nvSpPr>
          <p:spPr>
            <a:xfrm>
              <a:off x="520047" y="196243"/>
              <a:ext cx="26904" cy="10114"/>
            </a:xfrm>
            <a:custGeom>
              <a:avLst/>
              <a:gdLst/>
              <a:ahLst/>
              <a:cxnLst/>
              <a:rect l="l" t="t" r="r" b="b"/>
              <a:pathLst>
                <a:path w="540" h="203" extrusionOk="0">
                  <a:moveTo>
                    <a:pt x="405" y="1"/>
                  </a:moveTo>
                  <a:lnTo>
                    <a:pt x="338" y="35"/>
                  </a:lnTo>
                  <a:lnTo>
                    <a:pt x="68" y="35"/>
                  </a:lnTo>
                  <a:lnTo>
                    <a:pt x="34" y="68"/>
                  </a:lnTo>
                  <a:lnTo>
                    <a:pt x="1" y="102"/>
                  </a:lnTo>
                  <a:lnTo>
                    <a:pt x="34" y="136"/>
                  </a:lnTo>
                  <a:lnTo>
                    <a:pt x="68" y="169"/>
                  </a:lnTo>
                  <a:lnTo>
                    <a:pt x="169" y="203"/>
                  </a:lnTo>
                  <a:lnTo>
                    <a:pt x="371" y="203"/>
                  </a:lnTo>
                  <a:lnTo>
                    <a:pt x="439" y="169"/>
                  </a:lnTo>
                  <a:lnTo>
                    <a:pt x="506" y="136"/>
                  </a:lnTo>
                  <a:lnTo>
                    <a:pt x="540" y="102"/>
                  </a:lnTo>
                  <a:lnTo>
                    <a:pt x="540" y="68"/>
                  </a:lnTo>
                  <a:lnTo>
                    <a:pt x="540" y="35"/>
                  </a:lnTo>
                  <a:lnTo>
                    <a:pt x="506" y="35"/>
                  </a:lnTo>
                  <a:lnTo>
                    <a:pt x="40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3" name="Google Shape;843;p5"/>
            <p:cNvSpPr/>
            <p:nvPr/>
          </p:nvSpPr>
          <p:spPr>
            <a:xfrm>
              <a:off x="50" y="-7"/>
              <a:ext cx="92321" cy="26904"/>
            </a:xfrm>
            <a:custGeom>
              <a:avLst/>
              <a:gdLst/>
              <a:ahLst/>
              <a:cxnLst/>
              <a:rect l="l" t="t" r="r" b="b"/>
              <a:pathLst>
                <a:path w="1853" h="540" extrusionOk="0">
                  <a:moveTo>
                    <a:pt x="1583" y="1"/>
                  </a:moveTo>
                  <a:lnTo>
                    <a:pt x="1617" y="236"/>
                  </a:lnTo>
                  <a:lnTo>
                    <a:pt x="809" y="270"/>
                  </a:lnTo>
                  <a:lnTo>
                    <a:pt x="1" y="304"/>
                  </a:lnTo>
                  <a:lnTo>
                    <a:pt x="1" y="539"/>
                  </a:lnTo>
                  <a:lnTo>
                    <a:pt x="842" y="472"/>
                  </a:lnTo>
                  <a:lnTo>
                    <a:pt x="1684" y="405"/>
                  </a:lnTo>
                  <a:lnTo>
                    <a:pt x="1718" y="438"/>
                  </a:lnTo>
                  <a:lnTo>
                    <a:pt x="1751" y="405"/>
                  </a:lnTo>
                  <a:lnTo>
                    <a:pt x="1819" y="371"/>
                  </a:lnTo>
                  <a:lnTo>
                    <a:pt x="1852" y="337"/>
                  </a:lnTo>
                  <a:lnTo>
                    <a:pt x="1819" y="270"/>
                  </a:lnTo>
                  <a:lnTo>
                    <a:pt x="1785" y="236"/>
                  </a:lnTo>
                  <a:lnTo>
                    <a:pt x="178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4" name="Google Shape;844;p5"/>
            <p:cNvSpPr/>
            <p:nvPr/>
          </p:nvSpPr>
          <p:spPr>
            <a:xfrm>
              <a:off x="50" y="305305"/>
              <a:ext cx="203027" cy="120820"/>
            </a:xfrm>
            <a:custGeom>
              <a:avLst/>
              <a:gdLst/>
              <a:ahLst/>
              <a:cxnLst/>
              <a:rect l="l" t="t" r="r" b="b"/>
              <a:pathLst>
                <a:path w="4075" h="2425" extrusionOk="0">
                  <a:moveTo>
                    <a:pt x="2694" y="0"/>
                  </a:moveTo>
                  <a:lnTo>
                    <a:pt x="1448" y="34"/>
                  </a:lnTo>
                  <a:lnTo>
                    <a:pt x="371" y="34"/>
                  </a:lnTo>
                  <a:lnTo>
                    <a:pt x="1" y="101"/>
                  </a:lnTo>
                  <a:lnTo>
                    <a:pt x="1" y="303"/>
                  </a:lnTo>
                  <a:lnTo>
                    <a:pt x="943" y="270"/>
                  </a:lnTo>
                  <a:lnTo>
                    <a:pt x="1920" y="270"/>
                  </a:lnTo>
                  <a:lnTo>
                    <a:pt x="3805" y="236"/>
                  </a:lnTo>
                  <a:lnTo>
                    <a:pt x="3772" y="404"/>
                  </a:lnTo>
                  <a:lnTo>
                    <a:pt x="3772" y="606"/>
                  </a:lnTo>
                  <a:lnTo>
                    <a:pt x="3805" y="977"/>
                  </a:lnTo>
                  <a:lnTo>
                    <a:pt x="3805" y="1515"/>
                  </a:lnTo>
                  <a:lnTo>
                    <a:pt x="3839" y="2088"/>
                  </a:lnTo>
                  <a:lnTo>
                    <a:pt x="1852" y="2088"/>
                  </a:lnTo>
                  <a:lnTo>
                    <a:pt x="910" y="2155"/>
                  </a:lnTo>
                  <a:lnTo>
                    <a:pt x="438" y="2189"/>
                  </a:lnTo>
                  <a:lnTo>
                    <a:pt x="1" y="2290"/>
                  </a:lnTo>
                  <a:lnTo>
                    <a:pt x="1" y="2391"/>
                  </a:lnTo>
                  <a:lnTo>
                    <a:pt x="405" y="2424"/>
                  </a:lnTo>
                  <a:lnTo>
                    <a:pt x="809" y="2391"/>
                  </a:lnTo>
                  <a:lnTo>
                    <a:pt x="1617" y="2323"/>
                  </a:lnTo>
                  <a:lnTo>
                    <a:pt x="2728" y="2290"/>
                  </a:lnTo>
                  <a:lnTo>
                    <a:pt x="3873" y="2290"/>
                  </a:lnTo>
                  <a:lnTo>
                    <a:pt x="3873" y="2357"/>
                  </a:lnTo>
                  <a:lnTo>
                    <a:pt x="3906" y="2424"/>
                  </a:lnTo>
                  <a:lnTo>
                    <a:pt x="4041" y="2424"/>
                  </a:lnTo>
                  <a:lnTo>
                    <a:pt x="4075" y="2323"/>
                  </a:lnTo>
                  <a:lnTo>
                    <a:pt x="4075" y="1751"/>
                  </a:lnTo>
                  <a:lnTo>
                    <a:pt x="4041" y="1145"/>
                  </a:lnTo>
                  <a:lnTo>
                    <a:pt x="4041" y="674"/>
                  </a:lnTo>
                  <a:lnTo>
                    <a:pt x="4007" y="438"/>
                  </a:lnTo>
                  <a:lnTo>
                    <a:pt x="3974" y="236"/>
                  </a:lnTo>
                  <a:lnTo>
                    <a:pt x="4007" y="202"/>
                  </a:lnTo>
                  <a:lnTo>
                    <a:pt x="4007" y="135"/>
                  </a:lnTo>
                  <a:lnTo>
                    <a:pt x="3974" y="68"/>
                  </a:lnTo>
                  <a:lnTo>
                    <a:pt x="3906" y="34"/>
                  </a:lnTo>
                  <a:lnTo>
                    <a:pt x="330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5" name="Google Shape;845;p5"/>
            <p:cNvSpPr/>
            <p:nvPr/>
          </p:nvSpPr>
          <p:spPr>
            <a:xfrm>
              <a:off x="100691" y="31879"/>
              <a:ext cx="125852" cy="117481"/>
            </a:xfrm>
            <a:custGeom>
              <a:avLst/>
              <a:gdLst/>
              <a:ahLst/>
              <a:cxnLst/>
              <a:rect l="l" t="t" r="r" b="b"/>
              <a:pathLst>
                <a:path w="2526" h="2358" extrusionOk="0">
                  <a:moveTo>
                    <a:pt x="2257" y="202"/>
                  </a:moveTo>
                  <a:lnTo>
                    <a:pt x="2257" y="640"/>
                  </a:lnTo>
                  <a:lnTo>
                    <a:pt x="2290" y="1078"/>
                  </a:lnTo>
                  <a:lnTo>
                    <a:pt x="2290" y="1616"/>
                  </a:lnTo>
                  <a:lnTo>
                    <a:pt x="2324" y="2155"/>
                  </a:lnTo>
                  <a:lnTo>
                    <a:pt x="2088" y="2122"/>
                  </a:lnTo>
                  <a:lnTo>
                    <a:pt x="1886" y="2155"/>
                  </a:lnTo>
                  <a:lnTo>
                    <a:pt x="1449" y="2189"/>
                  </a:lnTo>
                  <a:lnTo>
                    <a:pt x="1449" y="2122"/>
                  </a:lnTo>
                  <a:lnTo>
                    <a:pt x="1449" y="1919"/>
                  </a:lnTo>
                  <a:lnTo>
                    <a:pt x="1449" y="1717"/>
                  </a:lnTo>
                  <a:lnTo>
                    <a:pt x="1415" y="1313"/>
                  </a:lnTo>
                  <a:lnTo>
                    <a:pt x="1381" y="1246"/>
                  </a:lnTo>
                  <a:lnTo>
                    <a:pt x="1348" y="1212"/>
                  </a:lnTo>
                  <a:lnTo>
                    <a:pt x="1280" y="1246"/>
                  </a:lnTo>
                  <a:lnTo>
                    <a:pt x="1247" y="1313"/>
                  </a:lnTo>
                  <a:lnTo>
                    <a:pt x="1247" y="1717"/>
                  </a:lnTo>
                  <a:lnTo>
                    <a:pt x="1247" y="1919"/>
                  </a:lnTo>
                  <a:lnTo>
                    <a:pt x="1314" y="2088"/>
                  </a:lnTo>
                  <a:lnTo>
                    <a:pt x="1348" y="2122"/>
                  </a:lnTo>
                  <a:lnTo>
                    <a:pt x="843" y="2122"/>
                  </a:lnTo>
                  <a:lnTo>
                    <a:pt x="607" y="2155"/>
                  </a:lnTo>
                  <a:lnTo>
                    <a:pt x="371" y="2223"/>
                  </a:lnTo>
                  <a:lnTo>
                    <a:pt x="304" y="1684"/>
                  </a:lnTo>
                  <a:lnTo>
                    <a:pt x="236" y="1145"/>
                  </a:lnTo>
                  <a:lnTo>
                    <a:pt x="203" y="707"/>
                  </a:lnTo>
                  <a:lnTo>
                    <a:pt x="135" y="270"/>
                  </a:lnTo>
                  <a:lnTo>
                    <a:pt x="1179" y="270"/>
                  </a:lnTo>
                  <a:lnTo>
                    <a:pt x="2257" y="202"/>
                  </a:lnTo>
                  <a:close/>
                  <a:moveTo>
                    <a:pt x="1179" y="0"/>
                  </a:moveTo>
                  <a:lnTo>
                    <a:pt x="641" y="34"/>
                  </a:lnTo>
                  <a:lnTo>
                    <a:pt x="135" y="68"/>
                  </a:lnTo>
                  <a:lnTo>
                    <a:pt x="68" y="101"/>
                  </a:lnTo>
                  <a:lnTo>
                    <a:pt x="34" y="169"/>
                  </a:lnTo>
                  <a:lnTo>
                    <a:pt x="1" y="438"/>
                  </a:lnTo>
                  <a:lnTo>
                    <a:pt x="1" y="674"/>
                  </a:lnTo>
                  <a:lnTo>
                    <a:pt x="34" y="1145"/>
                  </a:lnTo>
                  <a:lnTo>
                    <a:pt x="102" y="1717"/>
                  </a:lnTo>
                  <a:lnTo>
                    <a:pt x="135" y="2021"/>
                  </a:lnTo>
                  <a:lnTo>
                    <a:pt x="203" y="2290"/>
                  </a:lnTo>
                  <a:lnTo>
                    <a:pt x="236" y="2324"/>
                  </a:lnTo>
                  <a:lnTo>
                    <a:pt x="270" y="2357"/>
                  </a:lnTo>
                  <a:lnTo>
                    <a:pt x="337" y="2324"/>
                  </a:lnTo>
                  <a:lnTo>
                    <a:pt x="337" y="2357"/>
                  </a:lnTo>
                  <a:lnTo>
                    <a:pt x="1314" y="2357"/>
                  </a:lnTo>
                  <a:lnTo>
                    <a:pt x="1819" y="2324"/>
                  </a:lnTo>
                  <a:lnTo>
                    <a:pt x="2088" y="2324"/>
                  </a:lnTo>
                  <a:lnTo>
                    <a:pt x="2358" y="2290"/>
                  </a:lnTo>
                  <a:lnTo>
                    <a:pt x="2391" y="2324"/>
                  </a:lnTo>
                  <a:lnTo>
                    <a:pt x="2425" y="2324"/>
                  </a:lnTo>
                  <a:lnTo>
                    <a:pt x="2459" y="2290"/>
                  </a:lnTo>
                  <a:lnTo>
                    <a:pt x="2492" y="2256"/>
                  </a:lnTo>
                  <a:lnTo>
                    <a:pt x="2526" y="1987"/>
                  </a:lnTo>
                  <a:lnTo>
                    <a:pt x="2526" y="1751"/>
                  </a:lnTo>
                  <a:lnTo>
                    <a:pt x="2492" y="1246"/>
                  </a:lnTo>
                  <a:lnTo>
                    <a:pt x="2459" y="640"/>
                  </a:lnTo>
                  <a:lnTo>
                    <a:pt x="2425" y="337"/>
                  </a:lnTo>
                  <a:lnTo>
                    <a:pt x="2358" y="68"/>
                  </a:lnTo>
                  <a:lnTo>
                    <a:pt x="2324" y="34"/>
                  </a:lnTo>
                  <a:lnTo>
                    <a:pt x="229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6" name="Google Shape;846;p5"/>
            <p:cNvSpPr/>
            <p:nvPr/>
          </p:nvSpPr>
          <p:spPr>
            <a:xfrm>
              <a:off x="226493" y="201275"/>
              <a:ext cx="40306" cy="50371"/>
            </a:xfrm>
            <a:custGeom>
              <a:avLst/>
              <a:gdLst/>
              <a:ahLst/>
              <a:cxnLst/>
              <a:rect l="l" t="t" r="r" b="b"/>
              <a:pathLst>
                <a:path w="809" h="1011" extrusionOk="0">
                  <a:moveTo>
                    <a:pt x="439" y="237"/>
                  </a:moveTo>
                  <a:lnTo>
                    <a:pt x="472" y="270"/>
                  </a:lnTo>
                  <a:lnTo>
                    <a:pt x="472" y="338"/>
                  </a:lnTo>
                  <a:lnTo>
                    <a:pt x="439" y="439"/>
                  </a:lnTo>
                  <a:lnTo>
                    <a:pt x="338" y="540"/>
                  </a:lnTo>
                  <a:lnTo>
                    <a:pt x="203" y="573"/>
                  </a:lnTo>
                  <a:lnTo>
                    <a:pt x="237" y="439"/>
                  </a:lnTo>
                  <a:lnTo>
                    <a:pt x="270" y="338"/>
                  </a:lnTo>
                  <a:lnTo>
                    <a:pt x="338" y="270"/>
                  </a:lnTo>
                  <a:lnTo>
                    <a:pt x="371" y="270"/>
                  </a:lnTo>
                  <a:lnTo>
                    <a:pt x="439" y="237"/>
                  </a:lnTo>
                  <a:close/>
                  <a:moveTo>
                    <a:pt x="405" y="1"/>
                  </a:moveTo>
                  <a:lnTo>
                    <a:pt x="304" y="35"/>
                  </a:lnTo>
                  <a:lnTo>
                    <a:pt x="237" y="102"/>
                  </a:lnTo>
                  <a:lnTo>
                    <a:pt x="136" y="169"/>
                  </a:lnTo>
                  <a:lnTo>
                    <a:pt x="35" y="338"/>
                  </a:lnTo>
                  <a:lnTo>
                    <a:pt x="1" y="506"/>
                  </a:lnTo>
                  <a:lnTo>
                    <a:pt x="1" y="674"/>
                  </a:lnTo>
                  <a:lnTo>
                    <a:pt x="68" y="742"/>
                  </a:lnTo>
                  <a:lnTo>
                    <a:pt x="136" y="775"/>
                  </a:lnTo>
                  <a:lnTo>
                    <a:pt x="304" y="775"/>
                  </a:lnTo>
                  <a:lnTo>
                    <a:pt x="439" y="742"/>
                  </a:lnTo>
                  <a:lnTo>
                    <a:pt x="439" y="775"/>
                  </a:lnTo>
                  <a:lnTo>
                    <a:pt x="506" y="843"/>
                  </a:lnTo>
                  <a:lnTo>
                    <a:pt x="540" y="910"/>
                  </a:lnTo>
                  <a:lnTo>
                    <a:pt x="708" y="1011"/>
                  </a:lnTo>
                  <a:lnTo>
                    <a:pt x="742" y="1011"/>
                  </a:lnTo>
                  <a:lnTo>
                    <a:pt x="775" y="977"/>
                  </a:lnTo>
                  <a:lnTo>
                    <a:pt x="809" y="944"/>
                  </a:lnTo>
                  <a:lnTo>
                    <a:pt x="775" y="876"/>
                  </a:lnTo>
                  <a:lnTo>
                    <a:pt x="641" y="809"/>
                  </a:lnTo>
                  <a:lnTo>
                    <a:pt x="607" y="742"/>
                  </a:lnTo>
                  <a:lnTo>
                    <a:pt x="540" y="674"/>
                  </a:lnTo>
                  <a:lnTo>
                    <a:pt x="607" y="573"/>
                  </a:lnTo>
                  <a:lnTo>
                    <a:pt x="674" y="472"/>
                  </a:lnTo>
                  <a:lnTo>
                    <a:pt x="708" y="371"/>
                  </a:lnTo>
                  <a:lnTo>
                    <a:pt x="708" y="270"/>
                  </a:lnTo>
                  <a:lnTo>
                    <a:pt x="708" y="203"/>
                  </a:lnTo>
                  <a:lnTo>
                    <a:pt x="641" y="102"/>
                  </a:lnTo>
                  <a:lnTo>
                    <a:pt x="607" y="35"/>
                  </a:lnTo>
                  <a:lnTo>
                    <a:pt x="50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7" name="Google Shape;847;p5"/>
            <p:cNvSpPr/>
            <p:nvPr/>
          </p:nvSpPr>
          <p:spPr>
            <a:xfrm>
              <a:off x="50" y="164407"/>
              <a:ext cx="164464" cy="127496"/>
            </a:xfrm>
            <a:custGeom>
              <a:avLst/>
              <a:gdLst/>
              <a:ahLst/>
              <a:cxnLst/>
              <a:rect l="l" t="t" r="r" b="b"/>
              <a:pathLst>
                <a:path w="3301" h="2559" extrusionOk="0">
                  <a:moveTo>
                    <a:pt x="3098" y="0"/>
                  </a:moveTo>
                  <a:lnTo>
                    <a:pt x="3031" y="34"/>
                  </a:lnTo>
                  <a:lnTo>
                    <a:pt x="2997" y="101"/>
                  </a:lnTo>
                  <a:lnTo>
                    <a:pt x="2997" y="169"/>
                  </a:lnTo>
                  <a:lnTo>
                    <a:pt x="2189" y="101"/>
                  </a:lnTo>
                  <a:lnTo>
                    <a:pt x="337" y="101"/>
                  </a:lnTo>
                  <a:lnTo>
                    <a:pt x="1" y="135"/>
                  </a:lnTo>
                  <a:lnTo>
                    <a:pt x="1" y="337"/>
                  </a:lnTo>
                  <a:lnTo>
                    <a:pt x="573" y="303"/>
                  </a:lnTo>
                  <a:lnTo>
                    <a:pt x="2088" y="303"/>
                  </a:lnTo>
                  <a:lnTo>
                    <a:pt x="2997" y="371"/>
                  </a:lnTo>
                  <a:lnTo>
                    <a:pt x="3065" y="1381"/>
                  </a:lnTo>
                  <a:lnTo>
                    <a:pt x="3031" y="1818"/>
                  </a:lnTo>
                  <a:lnTo>
                    <a:pt x="3031" y="2256"/>
                  </a:lnTo>
                  <a:lnTo>
                    <a:pt x="2930" y="2222"/>
                  </a:lnTo>
                  <a:lnTo>
                    <a:pt x="2795" y="2155"/>
                  </a:lnTo>
                  <a:lnTo>
                    <a:pt x="2155" y="2155"/>
                  </a:lnTo>
                  <a:lnTo>
                    <a:pt x="1920" y="2189"/>
                  </a:lnTo>
                  <a:lnTo>
                    <a:pt x="1381" y="2256"/>
                  </a:lnTo>
                  <a:lnTo>
                    <a:pt x="842" y="2357"/>
                  </a:lnTo>
                  <a:lnTo>
                    <a:pt x="1" y="2357"/>
                  </a:lnTo>
                  <a:lnTo>
                    <a:pt x="1" y="2525"/>
                  </a:lnTo>
                  <a:lnTo>
                    <a:pt x="304" y="2559"/>
                  </a:lnTo>
                  <a:lnTo>
                    <a:pt x="640" y="2559"/>
                  </a:lnTo>
                  <a:lnTo>
                    <a:pt x="1280" y="2492"/>
                  </a:lnTo>
                  <a:lnTo>
                    <a:pt x="1718" y="2458"/>
                  </a:lnTo>
                  <a:lnTo>
                    <a:pt x="2155" y="2424"/>
                  </a:lnTo>
                  <a:lnTo>
                    <a:pt x="2593" y="2458"/>
                  </a:lnTo>
                  <a:lnTo>
                    <a:pt x="3065" y="2458"/>
                  </a:lnTo>
                  <a:lnTo>
                    <a:pt x="3065" y="2492"/>
                  </a:lnTo>
                  <a:lnTo>
                    <a:pt x="3098" y="2525"/>
                  </a:lnTo>
                  <a:lnTo>
                    <a:pt x="3132" y="2559"/>
                  </a:lnTo>
                  <a:lnTo>
                    <a:pt x="3199" y="2525"/>
                  </a:lnTo>
                  <a:lnTo>
                    <a:pt x="3233" y="2492"/>
                  </a:lnTo>
                  <a:lnTo>
                    <a:pt x="3300" y="2222"/>
                  </a:lnTo>
                  <a:lnTo>
                    <a:pt x="3300" y="1919"/>
                  </a:lnTo>
                  <a:lnTo>
                    <a:pt x="3300" y="1381"/>
                  </a:lnTo>
                  <a:lnTo>
                    <a:pt x="3300" y="707"/>
                  </a:lnTo>
                  <a:lnTo>
                    <a:pt x="3267" y="404"/>
                  </a:lnTo>
                  <a:lnTo>
                    <a:pt x="3233" y="68"/>
                  </a:lnTo>
                  <a:lnTo>
                    <a:pt x="316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8" name="Google Shape;848;p5"/>
            <p:cNvSpPr/>
            <p:nvPr/>
          </p:nvSpPr>
          <p:spPr>
            <a:xfrm>
              <a:off x="1098785" y="306949"/>
              <a:ext cx="28548" cy="38662"/>
            </a:xfrm>
            <a:custGeom>
              <a:avLst/>
              <a:gdLst/>
              <a:ahLst/>
              <a:cxnLst/>
              <a:rect l="l" t="t" r="r" b="b"/>
              <a:pathLst>
                <a:path w="573" h="776" extrusionOk="0">
                  <a:moveTo>
                    <a:pt x="404" y="1"/>
                  </a:moveTo>
                  <a:lnTo>
                    <a:pt x="438" y="203"/>
                  </a:lnTo>
                  <a:lnTo>
                    <a:pt x="438" y="405"/>
                  </a:lnTo>
                  <a:lnTo>
                    <a:pt x="438" y="472"/>
                  </a:lnTo>
                  <a:lnTo>
                    <a:pt x="371" y="540"/>
                  </a:lnTo>
                  <a:lnTo>
                    <a:pt x="303" y="607"/>
                  </a:lnTo>
                  <a:lnTo>
                    <a:pt x="236" y="607"/>
                  </a:lnTo>
                  <a:lnTo>
                    <a:pt x="236" y="506"/>
                  </a:lnTo>
                  <a:lnTo>
                    <a:pt x="169" y="439"/>
                  </a:lnTo>
                  <a:lnTo>
                    <a:pt x="101" y="405"/>
                  </a:lnTo>
                  <a:lnTo>
                    <a:pt x="68" y="405"/>
                  </a:lnTo>
                  <a:lnTo>
                    <a:pt x="0" y="472"/>
                  </a:lnTo>
                  <a:lnTo>
                    <a:pt x="34" y="540"/>
                  </a:lnTo>
                  <a:lnTo>
                    <a:pt x="68" y="573"/>
                  </a:lnTo>
                  <a:lnTo>
                    <a:pt x="68" y="641"/>
                  </a:lnTo>
                  <a:lnTo>
                    <a:pt x="68" y="708"/>
                  </a:lnTo>
                  <a:lnTo>
                    <a:pt x="135" y="742"/>
                  </a:lnTo>
                  <a:lnTo>
                    <a:pt x="236" y="775"/>
                  </a:lnTo>
                  <a:lnTo>
                    <a:pt x="337" y="742"/>
                  </a:lnTo>
                  <a:lnTo>
                    <a:pt x="438" y="674"/>
                  </a:lnTo>
                  <a:lnTo>
                    <a:pt x="505" y="573"/>
                  </a:lnTo>
                  <a:lnTo>
                    <a:pt x="573" y="439"/>
                  </a:lnTo>
                  <a:lnTo>
                    <a:pt x="573" y="270"/>
                  </a:lnTo>
                  <a:lnTo>
                    <a:pt x="539" y="136"/>
                  </a:lnTo>
                  <a:lnTo>
                    <a:pt x="438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49" name="Google Shape;849;p5"/>
            <p:cNvSpPr/>
            <p:nvPr/>
          </p:nvSpPr>
          <p:spPr>
            <a:xfrm>
              <a:off x="1236345" y="-7"/>
              <a:ext cx="110755" cy="105723"/>
            </a:xfrm>
            <a:custGeom>
              <a:avLst/>
              <a:gdLst/>
              <a:ahLst/>
              <a:cxnLst/>
              <a:rect l="l" t="t" r="r" b="b"/>
              <a:pathLst>
                <a:path w="2223" h="2122" extrusionOk="0">
                  <a:moveTo>
                    <a:pt x="1986" y="1"/>
                  </a:moveTo>
                  <a:lnTo>
                    <a:pt x="1986" y="304"/>
                  </a:lnTo>
                  <a:lnTo>
                    <a:pt x="1986" y="640"/>
                  </a:lnTo>
                  <a:lnTo>
                    <a:pt x="2020" y="1819"/>
                  </a:lnTo>
                  <a:lnTo>
                    <a:pt x="1784" y="1785"/>
                  </a:lnTo>
                  <a:lnTo>
                    <a:pt x="1549" y="1785"/>
                  </a:lnTo>
                  <a:lnTo>
                    <a:pt x="1077" y="1819"/>
                  </a:lnTo>
                  <a:lnTo>
                    <a:pt x="505" y="1819"/>
                  </a:lnTo>
                  <a:lnTo>
                    <a:pt x="337" y="1852"/>
                  </a:lnTo>
                  <a:lnTo>
                    <a:pt x="202" y="1852"/>
                  </a:lnTo>
                  <a:lnTo>
                    <a:pt x="101" y="1920"/>
                  </a:lnTo>
                  <a:lnTo>
                    <a:pt x="0" y="1987"/>
                  </a:lnTo>
                  <a:lnTo>
                    <a:pt x="0" y="2021"/>
                  </a:lnTo>
                  <a:lnTo>
                    <a:pt x="101" y="2088"/>
                  </a:lnTo>
                  <a:lnTo>
                    <a:pt x="202" y="2122"/>
                  </a:lnTo>
                  <a:lnTo>
                    <a:pt x="438" y="2122"/>
                  </a:lnTo>
                  <a:lnTo>
                    <a:pt x="943" y="2088"/>
                  </a:lnTo>
                  <a:lnTo>
                    <a:pt x="1784" y="2088"/>
                  </a:lnTo>
                  <a:lnTo>
                    <a:pt x="2054" y="2021"/>
                  </a:lnTo>
                  <a:lnTo>
                    <a:pt x="2087" y="2054"/>
                  </a:lnTo>
                  <a:lnTo>
                    <a:pt x="2155" y="2054"/>
                  </a:lnTo>
                  <a:lnTo>
                    <a:pt x="2222" y="2021"/>
                  </a:lnTo>
                  <a:lnTo>
                    <a:pt x="2222" y="1953"/>
                  </a:lnTo>
                  <a:lnTo>
                    <a:pt x="2188" y="775"/>
                  </a:lnTo>
                  <a:lnTo>
                    <a:pt x="2188" y="405"/>
                  </a:lnTo>
                  <a:lnTo>
                    <a:pt x="2188" y="203"/>
                  </a:lnTo>
                  <a:lnTo>
                    <a:pt x="2155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0" name="Google Shape;850;p5"/>
            <p:cNvSpPr/>
            <p:nvPr/>
          </p:nvSpPr>
          <p:spPr>
            <a:xfrm>
              <a:off x="1212829" y="169439"/>
              <a:ext cx="11808" cy="35274"/>
            </a:xfrm>
            <a:custGeom>
              <a:avLst/>
              <a:gdLst/>
              <a:ahLst/>
              <a:cxnLst/>
              <a:rect l="l" t="t" r="r" b="b"/>
              <a:pathLst>
                <a:path w="237" h="708" extrusionOk="0">
                  <a:moveTo>
                    <a:pt x="102" y="0"/>
                  </a:moveTo>
                  <a:lnTo>
                    <a:pt x="68" y="34"/>
                  </a:lnTo>
                  <a:lnTo>
                    <a:pt x="1" y="202"/>
                  </a:lnTo>
                  <a:lnTo>
                    <a:pt x="1" y="337"/>
                  </a:lnTo>
                  <a:lnTo>
                    <a:pt x="1" y="505"/>
                  </a:lnTo>
                  <a:lnTo>
                    <a:pt x="1" y="640"/>
                  </a:lnTo>
                  <a:lnTo>
                    <a:pt x="34" y="674"/>
                  </a:lnTo>
                  <a:lnTo>
                    <a:pt x="102" y="707"/>
                  </a:lnTo>
                  <a:lnTo>
                    <a:pt x="169" y="707"/>
                  </a:lnTo>
                  <a:lnTo>
                    <a:pt x="203" y="640"/>
                  </a:lnTo>
                  <a:lnTo>
                    <a:pt x="203" y="606"/>
                  </a:lnTo>
                  <a:lnTo>
                    <a:pt x="203" y="337"/>
                  </a:lnTo>
                  <a:lnTo>
                    <a:pt x="236" y="68"/>
                  </a:lnTo>
                  <a:lnTo>
                    <a:pt x="203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1" name="Google Shape;851;p5"/>
            <p:cNvSpPr/>
            <p:nvPr/>
          </p:nvSpPr>
          <p:spPr>
            <a:xfrm>
              <a:off x="1055141" y="263354"/>
              <a:ext cx="122514" cy="120820"/>
            </a:xfrm>
            <a:custGeom>
              <a:avLst/>
              <a:gdLst/>
              <a:ahLst/>
              <a:cxnLst/>
              <a:rect l="l" t="t" r="r" b="b"/>
              <a:pathLst>
                <a:path w="2459" h="2425" extrusionOk="0">
                  <a:moveTo>
                    <a:pt x="2290" y="203"/>
                  </a:moveTo>
                  <a:lnTo>
                    <a:pt x="2257" y="640"/>
                  </a:lnTo>
                  <a:lnTo>
                    <a:pt x="2257" y="1078"/>
                  </a:lnTo>
                  <a:lnTo>
                    <a:pt x="2223" y="1617"/>
                  </a:lnTo>
                  <a:lnTo>
                    <a:pt x="2223" y="2155"/>
                  </a:lnTo>
                  <a:lnTo>
                    <a:pt x="1954" y="2122"/>
                  </a:lnTo>
                  <a:lnTo>
                    <a:pt x="1684" y="2088"/>
                  </a:lnTo>
                  <a:lnTo>
                    <a:pt x="1146" y="2122"/>
                  </a:lnTo>
                  <a:lnTo>
                    <a:pt x="708" y="2155"/>
                  </a:lnTo>
                  <a:lnTo>
                    <a:pt x="506" y="2155"/>
                  </a:lnTo>
                  <a:lnTo>
                    <a:pt x="270" y="2223"/>
                  </a:lnTo>
                  <a:lnTo>
                    <a:pt x="270" y="1684"/>
                  </a:lnTo>
                  <a:lnTo>
                    <a:pt x="237" y="1179"/>
                  </a:lnTo>
                  <a:lnTo>
                    <a:pt x="237" y="741"/>
                  </a:lnTo>
                  <a:lnTo>
                    <a:pt x="203" y="304"/>
                  </a:lnTo>
                  <a:lnTo>
                    <a:pt x="1247" y="270"/>
                  </a:lnTo>
                  <a:lnTo>
                    <a:pt x="1752" y="236"/>
                  </a:lnTo>
                  <a:lnTo>
                    <a:pt x="2290" y="203"/>
                  </a:lnTo>
                  <a:close/>
                  <a:moveTo>
                    <a:pt x="1752" y="1"/>
                  </a:moveTo>
                  <a:lnTo>
                    <a:pt x="1247" y="34"/>
                  </a:lnTo>
                  <a:lnTo>
                    <a:pt x="169" y="102"/>
                  </a:lnTo>
                  <a:lnTo>
                    <a:pt x="136" y="102"/>
                  </a:lnTo>
                  <a:lnTo>
                    <a:pt x="102" y="135"/>
                  </a:lnTo>
                  <a:lnTo>
                    <a:pt x="68" y="169"/>
                  </a:lnTo>
                  <a:lnTo>
                    <a:pt x="35" y="472"/>
                  </a:lnTo>
                  <a:lnTo>
                    <a:pt x="1" y="741"/>
                  </a:lnTo>
                  <a:lnTo>
                    <a:pt x="35" y="1347"/>
                  </a:lnTo>
                  <a:lnTo>
                    <a:pt x="35" y="1852"/>
                  </a:lnTo>
                  <a:lnTo>
                    <a:pt x="68" y="2122"/>
                  </a:lnTo>
                  <a:lnTo>
                    <a:pt x="136" y="2357"/>
                  </a:lnTo>
                  <a:lnTo>
                    <a:pt x="136" y="2391"/>
                  </a:lnTo>
                  <a:lnTo>
                    <a:pt x="169" y="2425"/>
                  </a:lnTo>
                  <a:lnTo>
                    <a:pt x="237" y="2425"/>
                  </a:lnTo>
                  <a:lnTo>
                    <a:pt x="270" y="2391"/>
                  </a:lnTo>
                  <a:lnTo>
                    <a:pt x="775" y="2391"/>
                  </a:lnTo>
                  <a:lnTo>
                    <a:pt x="1314" y="2357"/>
                  </a:lnTo>
                  <a:lnTo>
                    <a:pt x="1785" y="2357"/>
                  </a:lnTo>
                  <a:lnTo>
                    <a:pt x="2021" y="2324"/>
                  </a:lnTo>
                  <a:lnTo>
                    <a:pt x="2257" y="2290"/>
                  </a:lnTo>
                  <a:lnTo>
                    <a:pt x="2324" y="2290"/>
                  </a:lnTo>
                  <a:lnTo>
                    <a:pt x="2358" y="2256"/>
                  </a:lnTo>
                  <a:lnTo>
                    <a:pt x="2391" y="2223"/>
                  </a:lnTo>
                  <a:lnTo>
                    <a:pt x="2459" y="1953"/>
                  </a:lnTo>
                  <a:lnTo>
                    <a:pt x="2459" y="1650"/>
                  </a:lnTo>
                  <a:lnTo>
                    <a:pt x="2459" y="1044"/>
                  </a:lnTo>
                  <a:lnTo>
                    <a:pt x="2459" y="573"/>
                  </a:lnTo>
                  <a:lnTo>
                    <a:pt x="2425" y="337"/>
                  </a:lnTo>
                  <a:lnTo>
                    <a:pt x="2391" y="102"/>
                  </a:lnTo>
                  <a:lnTo>
                    <a:pt x="2358" y="34"/>
                  </a:lnTo>
                  <a:lnTo>
                    <a:pt x="229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2" name="Google Shape;852;p5"/>
            <p:cNvSpPr/>
            <p:nvPr/>
          </p:nvSpPr>
          <p:spPr>
            <a:xfrm>
              <a:off x="1303406" y="124150"/>
              <a:ext cx="16840" cy="115787"/>
            </a:xfrm>
            <a:custGeom>
              <a:avLst/>
              <a:gdLst/>
              <a:ahLst/>
              <a:cxnLst/>
              <a:rect l="l" t="t" r="r" b="b"/>
              <a:pathLst>
                <a:path w="338" h="2324" extrusionOk="0">
                  <a:moveTo>
                    <a:pt x="68" y="0"/>
                  </a:moveTo>
                  <a:lnTo>
                    <a:pt x="34" y="34"/>
                  </a:lnTo>
                  <a:lnTo>
                    <a:pt x="1" y="303"/>
                  </a:lnTo>
                  <a:lnTo>
                    <a:pt x="1" y="539"/>
                  </a:lnTo>
                  <a:lnTo>
                    <a:pt x="34" y="1078"/>
                  </a:lnTo>
                  <a:lnTo>
                    <a:pt x="68" y="1684"/>
                  </a:lnTo>
                  <a:lnTo>
                    <a:pt x="102" y="1987"/>
                  </a:lnTo>
                  <a:lnTo>
                    <a:pt x="169" y="2290"/>
                  </a:lnTo>
                  <a:lnTo>
                    <a:pt x="203" y="2323"/>
                  </a:lnTo>
                  <a:lnTo>
                    <a:pt x="304" y="2323"/>
                  </a:lnTo>
                  <a:lnTo>
                    <a:pt x="304" y="2256"/>
                  </a:lnTo>
                  <a:lnTo>
                    <a:pt x="337" y="1953"/>
                  </a:lnTo>
                  <a:lnTo>
                    <a:pt x="304" y="1650"/>
                  </a:lnTo>
                  <a:lnTo>
                    <a:pt x="236" y="1078"/>
                  </a:lnTo>
                  <a:lnTo>
                    <a:pt x="203" y="539"/>
                  </a:lnTo>
                  <a:lnTo>
                    <a:pt x="169" y="303"/>
                  </a:lnTo>
                  <a:lnTo>
                    <a:pt x="135" y="34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3" name="Google Shape;853;p5"/>
            <p:cNvSpPr/>
            <p:nvPr/>
          </p:nvSpPr>
          <p:spPr>
            <a:xfrm>
              <a:off x="1283278" y="526716"/>
              <a:ext cx="135916" cy="15146"/>
            </a:xfrm>
            <a:custGeom>
              <a:avLst/>
              <a:gdLst/>
              <a:ahLst/>
              <a:cxnLst/>
              <a:rect l="l" t="t" r="r" b="b"/>
              <a:pathLst>
                <a:path w="2728" h="304" extrusionOk="0">
                  <a:moveTo>
                    <a:pt x="708" y="0"/>
                  </a:moveTo>
                  <a:lnTo>
                    <a:pt x="337" y="34"/>
                  </a:lnTo>
                  <a:lnTo>
                    <a:pt x="169" y="68"/>
                  </a:lnTo>
                  <a:lnTo>
                    <a:pt x="1" y="135"/>
                  </a:lnTo>
                  <a:lnTo>
                    <a:pt x="1" y="169"/>
                  </a:lnTo>
                  <a:lnTo>
                    <a:pt x="135" y="236"/>
                  </a:lnTo>
                  <a:lnTo>
                    <a:pt x="304" y="270"/>
                  </a:lnTo>
                  <a:lnTo>
                    <a:pt x="607" y="304"/>
                  </a:lnTo>
                  <a:lnTo>
                    <a:pt x="1246" y="270"/>
                  </a:lnTo>
                  <a:lnTo>
                    <a:pt x="2358" y="270"/>
                  </a:lnTo>
                  <a:lnTo>
                    <a:pt x="2694" y="169"/>
                  </a:lnTo>
                  <a:lnTo>
                    <a:pt x="2728" y="135"/>
                  </a:lnTo>
                  <a:lnTo>
                    <a:pt x="2694" y="102"/>
                  </a:lnTo>
                  <a:lnTo>
                    <a:pt x="2391" y="34"/>
                  </a:lnTo>
                  <a:lnTo>
                    <a:pt x="1415" y="34"/>
                  </a:lnTo>
                  <a:lnTo>
                    <a:pt x="70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4" name="Google Shape;854;p5"/>
            <p:cNvSpPr/>
            <p:nvPr/>
          </p:nvSpPr>
          <p:spPr>
            <a:xfrm>
              <a:off x="1283278" y="390850"/>
              <a:ext cx="115787" cy="120820"/>
            </a:xfrm>
            <a:custGeom>
              <a:avLst/>
              <a:gdLst/>
              <a:ahLst/>
              <a:cxnLst/>
              <a:rect l="l" t="t" r="r" b="b"/>
              <a:pathLst>
                <a:path w="2324" h="2425" extrusionOk="0">
                  <a:moveTo>
                    <a:pt x="2122" y="0"/>
                  </a:moveTo>
                  <a:lnTo>
                    <a:pt x="1516" y="34"/>
                  </a:lnTo>
                  <a:lnTo>
                    <a:pt x="203" y="34"/>
                  </a:lnTo>
                  <a:lnTo>
                    <a:pt x="1" y="135"/>
                  </a:lnTo>
                  <a:lnTo>
                    <a:pt x="68" y="202"/>
                  </a:lnTo>
                  <a:lnTo>
                    <a:pt x="169" y="236"/>
                  </a:lnTo>
                  <a:lnTo>
                    <a:pt x="371" y="270"/>
                  </a:lnTo>
                  <a:lnTo>
                    <a:pt x="1415" y="270"/>
                  </a:lnTo>
                  <a:lnTo>
                    <a:pt x="2021" y="236"/>
                  </a:lnTo>
                  <a:lnTo>
                    <a:pt x="2021" y="438"/>
                  </a:lnTo>
                  <a:lnTo>
                    <a:pt x="2021" y="640"/>
                  </a:lnTo>
                  <a:lnTo>
                    <a:pt x="2055" y="1078"/>
                  </a:lnTo>
                  <a:lnTo>
                    <a:pt x="2055" y="1616"/>
                  </a:lnTo>
                  <a:lnTo>
                    <a:pt x="2088" y="1852"/>
                  </a:lnTo>
                  <a:lnTo>
                    <a:pt x="2122" y="2121"/>
                  </a:lnTo>
                  <a:lnTo>
                    <a:pt x="977" y="2155"/>
                  </a:lnTo>
                  <a:lnTo>
                    <a:pt x="573" y="2155"/>
                  </a:lnTo>
                  <a:lnTo>
                    <a:pt x="371" y="2189"/>
                  </a:lnTo>
                  <a:lnTo>
                    <a:pt x="270" y="2222"/>
                  </a:lnTo>
                  <a:lnTo>
                    <a:pt x="203" y="2290"/>
                  </a:lnTo>
                  <a:lnTo>
                    <a:pt x="270" y="2357"/>
                  </a:lnTo>
                  <a:lnTo>
                    <a:pt x="371" y="2391"/>
                  </a:lnTo>
                  <a:lnTo>
                    <a:pt x="573" y="2424"/>
                  </a:lnTo>
                  <a:lnTo>
                    <a:pt x="977" y="2391"/>
                  </a:lnTo>
                  <a:lnTo>
                    <a:pt x="1617" y="2391"/>
                  </a:lnTo>
                  <a:lnTo>
                    <a:pt x="2223" y="2357"/>
                  </a:lnTo>
                  <a:lnTo>
                    <a:pt x="2290" y="2357"/>
                  </a:lnTo>
                  <a:lnTo>
                    <a:pt x="2324" y="2290"/>
                  </a:lnTo>
                  <a:lnTo>
                    <a:pt x="2324" y="2222"/>
                  </a:lnTo>
                  <a:lnTo>
                    <a:pt x="2290" y="2155"/>
                  </a:lnTo>
                  <a:lnTo>
                    <a:pt x="2324" y="1886"/>
                  </a:lnTo>
                  <a:lnTo>
                    <a:pt x="2290" y="1616"/>
                  </a:lnTo>
                  <a:lnTo>
                    <a:pt x="2257" y="1078"/>
                  </a:lnTo>
                  <a:lnTo>
                    <a:pt x="2257" y="640"/>
                  </a:lnTo>
                  <a:lnTo>
                    <a:pt x="2223" y="404"/>
                  </a:lnTo>
                  <a:lnTo>
                    <a:pt x="2189" y="202"/>
                  </a:lnTo>
                  <a:lnTo>
                    <a:pt x="2223" y="135"/>
                  </a:lnTo>
                  <a:lnTo>
                    <a:pt x="2223" y="68"/>
                  </a:lnTo>
                  <a:lnTo>
                    <a:pt x="2189" y="34"/>
                  </a:lnTo>
                  <a:lnTo>
                    <a:pt x="212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5" name="Google Shape;855;p5"/>
            <p:cNvSpPr/>
            <p:nvPr/>
          </p:nvSpPr>
          <p:spPr>
            <a:xfrm>
              <a:off x="993112" y="400914"/>
              <a:ext cx="125852" cy="119126"/>
            </a:xfrm>
            <a:custGeom>
              <a:avLst/>
              <a:gdLst/>
              <a:ahLst/>
              <a:cxnLst/>
              <a:rect l="l" t="t" r="r" b="b"/>
              <a:pathLst>
                <a:path w="2526" h="2391" extrusionOk="0">
                  <a:moveTo>
                    <a:pt x="2256" y="236"/>
                  </a:moveTo>
                  <a:lnTo>
                    <a:pt x="2256" y="674"/>
                  </a:lnTo>
                  <a:lnTo>
                    <a:pt x="2290" y="1111"/>
                  </a:lnTo>
                  <a:lnTo>
                    <a:pt x="2290" y="1616"/>
                  </a:lnTo>
                  <a:lnTo>
                    <a:pt x="2323" y="2121"/>
                  </a:lnTo>
                  <a:lnTo>
                    <a:pt x="1448" y="2121"/>
                  </a:lnTo>
                  <a:lnTo>
                    <a:pt x="909" y="2155"/>
                  </a:lnTo>
                  <a:lnTo>
                    <a:pt x="640" y="2189"/>
                  </a:lnTo>
                  <a:lnTo>
                    <a:pt x="371" y="2222"/>
                  </a:lnTo>
                  <a:lnTo>
                    <a:pt x="337" y="1684"/>
                  </a:lnTo>
                  <a:lnTo>
                    <a:pt x="270" y="1145"/>
                  </a:lnTo>
                  <a:lnTo>
                    <a:pt x="202" y="707"/>
                  </a:lnTo>
                  <a:lnTo>
                    <a:pt x="169" y="303"/>
                  </a:lnTo>
                  <a:lnTo>
                    <a:pt x="674" y="303"/>
                  </a:lnTo>
                  <a:lnTo>
                    <a:pt x="1212" y="270"/>
                  </a:lnTo>
                  <a:lnTo>
                    <a:pt x="2256" y="236"/>
                  </a:lnTo>
                  <a:close/>
                  <a:moveTo>
                    <a:pt x="2256" y="0"/>
                  </a:moveTo>
                  <a:lnTo>
                    <a:pt x="1179" y="34"/>
                  </a:lnTo>
                  <a:lnTo>
                    <a:pt x="674" y="68"/>
                  </a:lnTo>
                  <a:lnTo>
                    <a:pt x="135" y="101"/>
                  </a:lnTo>
                  <a:lnTo>
                    <a:pt x="68" y="135"/>
                  </a:lnTo>
                  <a:lnTo>
                    <a:pt x="68" y="202"/>
                  </a:lnTo>
                  <a:lnTo>
                    <a:pt x="34" y="438"/>
                  </a:lnTo>
                  <a:lnTo>
                    <a:pt x="0" y="674"/>
                  </a:lnTo>
                  <a:lnTo>
                    <a:pt x="34" y="1179"/>
                  </a:lnTo>
                  <a:lnTo>
                    <a:pt x="101" y="1751"/>
                  </a:lnTo>
                  <a:lnTo>
                    <a:pt x="135" y="2054"/>
                  </a:lnTo>
                  <a:lnTo>
                    <a:pt x="236" y="2323"/>
                  </a:lnTo>
                  <a:lnTo>
                    <a:pt x="236" y="2357"/>
                  </a:lnTo>
                  <a:lnTo>
                    <a:pt x="371" y="2357"/>
                  </a:lnTo>
                  <a:lnTo>
                    <a:pt x="606" y="2391"/>
                  </a:lnTo>
                  <a:lnTo>
                    <a:pt x="842" y="2391"/>
                  </a:lnTo>
                  <a:lnTo>
                    <a:pt x="1313" y="2357"/>
                  </a:lnTo>
                  <a:lnTo>
                    <a:pt x="2088" y="2357"/>
                  </a:lnTo>
                  <a:lnTo>
                    <a:pt x="2357" y="2323"/>
                  </a:lnTo>
                  <a:lnTo>
                    <a:pt x="2458" y="2323"/>
                  </a:lnTo>
                  <a:lnTo>
                    <a:pt x="2492" y="2290"/>
                  </a:lnTo>
                  <a:lnTo>
                    <a:pt x="2525" y="2020"/>
                  </a:lnTo>
                  <a:lnTo>
                    <a:pt x="2525" y="1785"/>
                  </a:lnTo>
                  <a:lnTo>
                    <a:pt x="2492" y="1246"/>
                  </a:lnTo>
                  <a:lnTo>
                    <a:pt x="2458" y="674"/>
                  </a:lnTo>
                  <a:lnTo>
                    <a:pt x="2424" y="371"/>
                  </a:lnTo>
                  <a:lnTo>
                    <a:pt x="2357" y="68"/>
                  </a:lnTo>
                  <a:lnTo>
                    <a:pt x="2323" y="34"/>
                  </a:lnTo>
                  <a:lnTo>
                    <a:pt x="2290" y="34"/>
                  </a:lnTo>
                  <a:lnTo>
                    <a:pt x="22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6" name="Google Shape;856;p5"/>
            <p:cNvSpPr/>
            <p:nvPr/>
          </p:nvSpPr>
          <p:spPr>
            <a:xfrm>
              <a:off x="1440966" y="112392"/>
              <a:ext cx="127546" cy="120820"/>
            </a:xfrm>
            <a:custGeom>
              <a:avLst/>
              <a:gdLst/>
              <a:ahLst/>
              <a:cxnLst/>
              <a:rect l="l" t="t" r="r" b="b"/>
              <a:pathLst>
                <a:path w="2560" h="2425" extrusionOk="0">
                  <a:moveTo>
                    <a:pt x="2021" y="0"/>
                  </a:moveTo>
                  <a:lnTo>
                    <a:pt x="1617" y="68"/>
                  </a:lnTo>
                  <a:lnTo>
                    <a:pt x="910" y="68"/>
                  </a:lnTo>
                  <a:lnTo>
                    <a:pt x="539" y="101"/>
                  </a:lnTo>
                  <a:lnTo>
                    <a:pt x="203" y="135"/>
                  </a:lnTo>
                  <a:lnTo>
                    <a:pt x="169" y="68"/>
                  </a:lnTo>
                  <a:lnTo>
                    <a:pt x="169" y="34"/>
                  </a:lnTo>
                  <a:lnTo>
                    <a:pt x="102" y="34"/>
                  </a:lnTo>
                  <a:lnTo>
                    <a:pt x="68" y="68"/>
                  </a:lnTo>
                  <a:lnTo>
                    <a:pt x="34" y="303"/>
                  </a:lnTo>
                  <a:lnTo>
                    <a:pt x="1" y="573"/>
                  </a:lnTo>
                  <a:lnTo>
                    <a:pt x="1" y="1112"/>
                  </a:lnTo>
                  <a:lnTo>
                    <a:pt x="34" y="1718"/>
                  </a:lnTo>
                  <a:lnTo>
                    <a:pt x="102" y="2021"/>
                  </a:lnTo>
                  <a:lnTo>
                    <a:pt x="169" y="2324"/>
                  </a:lnTo>
                  <a:lnTo>
                    <a:pt x="203" y="2357"/>
                  </a:lnTo>
                  <a:lnTo>
                    <a:pt x="304" y="2357"/>
                  </a:lnTo>
                  <a:lnTo>
                    <a:pt x="337" y="2290"/>
                  </a:lnTo>
                  <a:lnTo>
                    <a:pt x="337" y="1987"/>
                  </a:lnTo>
                  <a:lnTo>
                    <a:pt x="304" y="1684"/>
                  </a:lnTo>
                  <a:lnTo>
                    <a:pt x="236" y="1078"/>
                  </a:lnTo>
                  <a:lnTo>
                    <a:pt x="236" y="674"/>
                  </a:lnTo>
                  <a:lnTo>
                    <a:pt x="203" y="236"/>
                  </a:lnTo>
                  <a:lnTo>
                    <a:pt x="438" y="270"/>
                  </a:lnTo>
                  <a:lnTo>
                    <a:pt x="1145" y="270"/>
                  </a:lnTo>
                  <a:lnTo>
                    <a:pt x="2223" y="202"/>
                  </a:lnTo>
                  <a:lnTo>
                    <a:pt x="2256" y="236"/>
                  </a:lnTo>
                  <a:lnTo>
                    <a:pt x="2290" y="270"/>
                  </a:lnTo>
                  <a:lnTo>
                    <a:pt x="2357" y="270"/>
                  </a:lnTo>
                  <a:lnTo>
                    <a:pt x="2324" y="573"/>
                  </a:lnTo>
                  <a:lnTo>
                    <a:pt x="2324" y="910"/>
                  </a:lnTo>
                  <a:lnTo>
                    <a:pt x="2357" y="2088"/>
                  </a:lnTo>
                  <a:lnTo>
                    <a:pt x="2122" y="2054"/>
                  </a:lnTo>
                  <a:lnTo>
                    <a:pt x="1886" y="2088"/>
                  </a:lnTo>
                  <a:lnTo>
                    <a:pt x="1415" y="2122"/>
                  </a:lnTo>
                  <a:lnTo>
                    <a:pt x="674" y="2122"/>
                  </a:lnTo>
                  <a:lnTo>
                    <a:pt x="539" y="2155"/>
                  </a:lnTo>
                  <a:lnTo>
                    <a:pt x="438" y="2189"/>
                  </a:lnTo>
                  <a:lnTo>
                    <a:pt x="337" y="2290"/>
                  </a:lnTo>
                  <a:lnTo>
                    <a:pt x="438" y="2357"/>
                  </a:lnTo>
                  <a:lnTo>
                    <a:pt x="539" y="2391"/>
                  </a:lnTo>
                  <a:lnTo>
                    <a:pt x="775" y="2425"/>
                  </a:lnTo>
                  <a:lnTo>
                    <a:pt x="1280" y="2357"/>
                  </a:lnTo>
                  <a:lnTo>
                    <a:pt x="2122" y="2357"/>
                  </a:lnTo>
                  <a:lnTo>
                    <a:pt x="2391" y="2290"/>
                  </a:lnTo>
                  <a:lnTo>
                    <a:pt x="2425" y="2324"/>
                  </a:lnTo>
                  <a:lnTo>
                    <a:pt x="2492" y="2357"/>
                  </a:lnTo>
                  <a:lnTo>
                    <a:pt x="2559" y="2324"/>
                  </a:lnTo>
                  <a:lnTo>
                    <a:pt x="2559" y="2256"/>
                  </a:lnTo>
                  <a:lnTo>
                    <a:pt x="2526" y="1078"/>
                  </a:lnTo>
                  <a:lnTo>
                    <a:pt x="2526" y="573"/>
                  </a:lnTo>
                  <a:lnTo>
                    <a:pt x="2492" y="303"/>
                  </a:lnTo>
                  <a:lnTo>
                    <a:pt x="2425" y="68"/>
                  </a:lnTo>
                  <a:lnTo>
                    <a:pt x="2391" y="68"/>
                  </a:lnTo>
                  <a:lnTo>
                    <a:pt x="2391" y="101"/>
                  </a:lnTo>
                  <a:lnTo>
                    <a:pt x="2324" y="34"/>
                  </a:lnTo>
                  <a:lnTo>
                    <a:pt x="2223" y="34"/>
                  </a:lnTo>
                  <a:lnTo>
                    <a:pt x="202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7" name="Google Shape;857;p5"/>
            <p:cNvSpPr/>
            <p:nvPr/>
          </p:nvSpPr>
          <p:spPr>
            <a:xfrm>
              <a:off x="1274908" y="395882"/>
              <a:ext cx="16840" cy="117481"/>
            </a:xfrm>
            <a:custGeom>
              <a:avLst/>
              <a:gdLst/>
              <a:ahLst/>
              <a:cxnLst/>
              <a:rect l="l" t="t" r="r" b="b"/>
              <a:pathLst>
                <a:path w="338" h="2358" extrusionOk="0">
                  <a:moveTo>
                    <a:pt x="68" y="0"/>
                  </a:moveTo>
                  <a:lnTo>
                    <a:pt x="34" y="34"/>
                  </a:lnTo>
                  <a:lnTo>
                    <a:pt x="0" y="303"/>
                  </a:lnTo>
                  <a:lnTo>
                    <a:pt x="0" y="573"/>
                  </a:lnTo>
                  <a:lnTo>
                    <a:pt x="34" y="1078"/>
                  </a:lnTo>
                  <a:lnTo>
                    <a:pt x="68" y="1684"/>
                  </a:lnTo>
                  <a:lnTo>
                    <a:pt x="101" y="1987"/>
                  </a:lnTo>
                  <a:lnTo>
                    <a:pt x="169" y="2290"/>
                  </a:lnTo>
                  <a:lnTo>
                    <a:pt x="202" y="2323"/>
                  </a:lnTo>
                  <a:lnTo>
                    <a:pt x="270" y="2357"/>
                  </a:lnTo>
                  <a:lnTo>
                    <a:pt x="303" y="2323"/>
                  </a:lnTo>
                  <a:lnTo>
                    <a:pt x="337" y="2256"/>
                  </a:lnTo>
                  <a:lnTo>
                    <a:pt x="337" y="1987"/>
                  </a:lnTo>
                  <a:lnTo>
                    <a:pt x="303" y="1684"/>
                  </a:lnTo>
                  <a:lnTo>
                    <a:pt x="236" y="1078"/>
                  </a:lnTo>
                  <a:lnTo>
                    <a:pt x="202" y="539"/>
                  </a:lnTo>
                  <a:lnTo>
                    <a:pt x="202" y="303"/>
                  </a:lnTo>
                  <a:lnTo>
                    <a:pt x="135" y="34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8" name="Google Shape;858;p5"/>
            <p:cNvSpPr/>
            <p:nvPr/>
          </p:nvSpPr>
          <p:spPr>
            <a:xfrm>
              <a:off x="520047" y="15089"/>
              <a:ext cx="127546" cy="119175"/>
            </a:xfrm>
            <a:custGeom>
              <a:avLst/>
              <a:gdLst/>
              <a:ahLst/>
              <a:cxnLst/>
              <a:rect l="l" t="t" r="r" b="b"/>
              <a:pathLst>
                <a:path w="2560" h="2392" extrusionOk="0">
                  <a:moveTo>
                    <a:pt x="135" y="1"/>
                  </a:moveTo>
                  <a:lnTo>
                    <a:pt x="102" y="34"/>
                  </a:lnTo>
                  <a:lnTo>
                    <a:pt x="68" y="34"/>
                  </a:lnTo>
                  <a:lnTo>
                    <a:pt x="34" y="304"/>
                  </a:lnTo>
                  <a:lnTo>
                    <a:pt x="1" y="573"/>
                  </a:lnTo>
                  <a:lnTo>
                    <a:pt x="1" y="1078"/>
                  </a:lnTo>
                  <a:lnTo>
                    <a:pt x="34" y="1684"/>
                  </a:lnTo>
                  <a:lnTo>
                    <a:pt x="68" y="2021"/>
                  </a:lnTo>
                  <a:lnTo>
                    <a:pt x="169" y="2290"/>
                  </a:lnTo>
                  <a:lnTo>
                    <a:pt x="203" y="2358"/>
                  </a:lnTo>
                  <a:lnTo>
                    <a:pt x="236" y="2358"/>
                  </a:lnTo>
                  <a:lnTo>
                    <a:pt x="304" y="2324"/>
                  </a:lnTo>
                  <a:lnTo>
                    <a:pt x="338" y="2256"/>
                  </a:lnTo>
                  <a:lnTo>
                    <a:pt x="304" y="1987"/>
                  </a:lnTo>
                  <a:lnTo>
                    <a:pt x="304" y="1684"/>
                  </a:lnTo>
                  <a:lnTo>
                    <a:pt x="236" y="1078"/>
                  </a:lnTo>
                  <a:lnTo>
                    <a:pt x="236" y="640"/>
                  </a:lnTo>
                  <a:lnTo>
                    <a:pt x="203" y="236"/>
                  </a:lnTo>
                  <a:lnTo>
                    <a:pt x="439" y="236"/>
                  </a:lnTo>
                  <a:lnTo>
                    <a:pt x="674" y="270"/>
                  </a:lnTo>
                  <a:lnTo>
                    <a:pt x="1146" y="236"/>
                  </a:lnTo>
                  <a:lnTo>
                    <a:pt x="2223" y="203"/>
                  </a:lnTo>
                  <a:lnTo>
                    <a:pt x="2257" y="236"/>
                  </a:lnTo>
                  <a:lnTo>
                    <a:pt x="2324" y="236"/>
                  </a:lnTo>
                  <a:lnTo>
                    <a:pt x="2290" y="573"/>
                  </a:lnTo>
                  <a:lnTo>
                    <a:pt x="2324" y="910"/>
                  </a:lnTo>
                  <a:lnTo>
                    <a:pt x="2358" y="2088"/>
                  </a:lnTo>
                  <a:lnTo>
                    <a:pt x="2122" y="2054"/>
                  </a:lnTo>
                  <a:lnTo>
                    <a:pt x="1886" y="2054"/>
                  </a:lnTo>
                  <a:lnTo>
                    <a:pt x="1415" y="2088"/>
                  </a:lnTo>
                  <a:lnTo>
                    <a:pt x="843" y="2088"/>
                  </a:lnTo>
                  <a:lnTo>
                    <a:pt x="674" y="2122"/>
                  </a:lnTo>
                  <a:lnTo>
                    <a:pt x="540" y="2122"/>
                  </a:lnTo>
                  <a:lnTo>
                    <a:pt x="405" y="2189"/>
                  </a:lnTo>
                  <a:lnTo>
                    <a:pt x="338" y="2256"/>
                  </a:lnTo>
                  <a:lnTo>
                    <a:pt x="338" y="2290"/>
                  </a:lnTo>
                  <a:lnTo>
                    <a:pt x="405" y="2358"/>
                  </a:lnTo>
                  <a:lnTo>
                    <a:pt x="540" y="2391"/>
                  </a:lnTo>
                  <a:lnTo>
                    <a:pt x="775" y="2391"/>
                  </a:lnTo>
                  <a:lnTo>
                    <a:pt x="1280" y="2358"/>
                  </a:lnTo>
                  <a:lnTo>
                    <a:pt x="2088" y="2358"/>
                  </a:lnTo>
                  <a:lnTo>
                    <a:pt x="2358" y="2290"/>
                  </a:lnTo>
                  <a:lnTo>
                    <a:pt x="2425" y="2324"/>
                  </a:lnTo>
                  <a:lnTo>
                    <a:pt x="2492" y="2324"/>
                  </a:lnTo>
                  <a:lnTo>
                    <a:pt x="2526" y="2290"/>
                  </a:lnTo>
                  <a:lnTo>
                    <a:pt x="2560" y="2223"/>
                  </a:lnTo>
                  <a:lnTo>
                    <a:pt x="2526" y="1044"/>
                  </a:lnTo>
                  <a:lnTo>
                    <a:pt x="2526" y="539"/>
                  </a:lnTo>
                  <a:lnTo>
                    <a:pt x="2492" y="304"/>
                  </a:lnTo>
                  <a:lnTo>
                    <a:pt x="2425" y="68"/>
                  </a:lnTo>
                  <a:lnTo>
                    <a:pt x="2425" y="34"/>
                  </a:lnTo>
                  <a:lnTo>
                    <a:pt x="2391" y="34"/>
                  </a:lnTo>
                  <a:lnTo>
                    <a:pt x="2391" y="102"/>
                  </a:lnTo>
                  <a:lnTo>
                    <a:pt x="2358" y="68"/>
                  </a:lnTo>
                  <a:lnTo>
                    <a:pt x="2290" y="34"/>
                  </a:lnTo>
                  <a:lnTo>
                    <a:pt x="2223" y="1"/>
                  </a:lnTo>
                  <a:lnTo>
                    <a:pt x="1987" y="1"/>
                  </a:lnTo>
                  <a:lnTo>
                    <a:pt x="1617" y="34"/>
                  </a:lnTo>
                  <a:lnTo>
                    <a:pt x="910" y="34"/>
                  </a:lnTo>
                  <a:lnTo>
                    <a:pt x="540" y="68"/>
                  </a:lnTo>
                  <a:lnTo>
                    <a:pt x="203" y="135"/>
                  </a:lnTo>
                  <a:lnTo>
                    <a:pt x="169" y="34"/>
                  </a:lnTo>
                  <a:lnTo>
                    <a:pt x="169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59" name="Google Shape;859;p5"/>
            <p:cNvSpPr/>
            <p:nvPr/>
          </p:nvSpPr>
          <p:spPr>
            <a:xfrm>
              <a:off x="1311826" y="416010"/>
              <a:ext cx="45338" cy="25210"/>
            </a:xfrm>
            <a:custGeom>
              <a:avLst/>
              <a:gdLst/>
              <a:ahLst/>
              <a:cxnLst/>
              <a:rect l="l" t="t" r="r" b="b"/>
              <a:pathLst>
                <a:path w="910" h="506" extrusionOk="0">
                  <a:moveTo>
                    <a:pt x="572" y="0"/>
                  </a:moveTo>
                  <a:lnTo>
                    <a:pt x="404" y="68"/>
                  </a:lnTo>
                  <a:lnTo>
                    <a:pt x="101" y="236"/>
                  </a:lnTo>
                  <a:lnTo>
                    <a:pt x="34" y="270"/>
                  </a:lnTo>
                  <a:lnTo>
                    <a:pt x="0" y="337"/>
                  </a:lnTo>
                  <a:lnTo>
                    <a:pt x="34" y="371"/>
                  </a:lnTo>
                  <a:lnTo>
                    <a:pt x="101" y="404"/>
                  </a:lnTo>
                  <a:lnTo>
                    <a:pt x="774" y="505"/>
                  </a:lnTo>
                  <a:lnTo>
                    <a:pt x="842" y="472"/>
                  </a:lnTo>
                  <a:lnTo>
                    <a:pt x="909" y="404"/>
                  </a:lnTo>
                  <a:lnTo>
                    <a:pt x="876" y="337"/>
                  </a:lnTo>
                  <a:lnTo>
                    <a:pt x="808" y="303"/>
                  </a:lnTo>
                  <a:lnTo>
                    <a:pt x="505" y="270"/>
                  </a:lnTo>
                  <a:lnTo>
                    <a:pt x="640" y="169"/>
                  </a:lnTo>
                  <a:lnTo>
                    <a:pt x="774" y="68"/>
                  </a:lnTo>
                  <a:lnTo>
                    <a:pt x="77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0" name="Google Shape;860;p5"/>
            <p:cNvSpPr/>
            <p:nvPr/>
          </p:nvSpPr>
          <p:spPr>
            <a:xfrm>
              <a:off x="682768" y="323739"/>
              <a:ext cx="35274" cy="52065"/>
            </a:xfrm>
            <a:custGeom>
              <a:avLst/>
              <a:gdLst/>
              <a:ahLst/>
              <a:cxnLst/>
              <a:rect l="l" t="t" r="r" b="b"/>
              <a:pathLst>
                <a:path w="708" h="1045" extrusionOk="0">
                  <a:moveTo>
                    <a:pt x="506" y="1"/>
                  </a:moveTo>
                  <a:lnTo>
                    <a:pt x="371" y="34"/>
                  </a:lnTo>
                  <a:lnTo>
                    <a:pt x="135" y="34"/>
                  </a:lnTo>
                  <a:lnTo>
                    <a:pt x="102" y="68"/>
                  </a:lnTo>
                  <a:lnTo>
                    <a:pt x="34" y="68"/>
                  </a:lnTo>
                  <a:lnTo>
                    <a:pt x="1" y="135"/>
                  </a:lnTo>
                  <a:lnTo>
                    <a:pt x="1" y="169"/>
                  </a:lnTo>
                  <a:lnTo>
                    <a:pt x="34" y="203"/>
                  </a:lnTo>
                  <a:lnTo>
                    <a:pt x="68" y="203"/>
                  </a:lnTo>
                  <a:lnTo>
                    <a:pt x="68" y="607"/>
                  </a:lnTo>
                  <a:lnTo>
                    <a:pt x="169" y="977"/>
                  </a:lnTo>
                  <a:lnTo>
                    <a:pt x="203" y="1044"/>
                  </a:lnTo>
                  <a:lnTo>
                    <a:pt x="270" y="1044"/>
                  </a:lnTo>
                  <a:lnTo>
                    <a:pt x="337" y="1011"/>
                  </a:lnTo>
                  <a:lnTo>
                    <a:pt x="337" y="943"/>
                  </a:lnTo>
                  <a:lnTo>
                    <a:pt x="304" y="573"/>
                  </a:lnTo>
                  <a:lnTo>
                    <a:pt x="371" y="607"/>
                  </a:lnTo>
                  <a:lnTo>
                    <a:pt x="472" y="573"/>
                  </a:lnTo>
                  <a:lnTo>
                    <a:pt x="573" y="539"/>
                  </a:lnTo>
                  <a:lnTo>
                    <a:pt x="607" y="506"/>
                  </a:lnTo>
                  <a:lnTo>
                    <a:pt x="607" y="472"/>
                  </a:lnTo>
                  <a:lnTo>
                    <a:pt x="573" y="405"/>
                  </a:lnTo>
                  <a:lnTo>
                    <a:pt x="506" y="405"/>
                  </a:lnTo>
                  <a:lnTo>
                    <a:pt x="337" y="438"/>
                  </a:lnTo>
                  <a:lnTo>
                    <a:pt x="270" y="472"/>
                  </a:lnTo>
                  <a:lnTo>
                    <a:pt x="236" y="236"/>
                  </a:lnTo>
                  <a:lnTo>
                    <a:pt x="371" y="236"/>
                  </a:lnTo>
                  <a:lnTo>
                    <a:pt x="539" y="203"/>
                  </a:lnTo>
                  <a:lnTo>
                    <a:pt x="607" y="169"/>
                  </a:lnTo>
                  <a:lnTo>
                    <a:pt x="674" y="135"/>
                  </a:lnTo>
                  <a:lnTo>
                    <a:pt x="708" y="102"/>
                  </a:lnTo>
                  <a:lnTo>
                    <a:pt x="708" y="68"/>
                  </a:lnTo>
                  <a:lnTo>
                    <a:pt x="6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1" name="Google Shape;861;p5"/>
            <p:cNvSpPr/>
            <p:nvPr/>
          </p:nvSpPr>
          <p:spPr>
            <a:xfrm>
              <a:off x="565336" y="72136"/>
              <a:ext cx="38662" cy="43645"/>
            </a:xfrm>
            <a:custGeom>
              <a:avLst/>
              <a:gdLst/>
              <a:ahLst/>
              <a:cxnLst/>
              <a:rect l="l" t="t" r="r" b="b"/>
              <a:pathLst>
                <a:path w="776" h="876" extrusionOk="0">
                  <a:moveTo>
                    <a:pt x="405" y="0"/>
                  </a:moveTo>
                  <a:lnTo>
                    <a:pt x="270" y="135"/>
                  </a:lnTo>
                  <a:lnTo>
                    <a:pt x="169" y="270"/>
                  </a:lnTo>
                  <a:lnTo>
                    <a:pt x="1" y="606"/>
                  </a:lnTo>
                  <a:lnTo>
                    <a:pt x="1" y="640"/>
                  </a:lnTo>
                  <a:lnTo>
                    <a:pt x="1" y="674"/>
                  </a:lnTo>
                  <a:lnTo>
                    <a:pt x="35" y="707"/>
                  </a:lnTo>
                  <a:lnTo>
                    <a:pt x="102" y="741"/>
                  </a:lnTo>
                  <a:lnTo>
                    <a:pt x="338" y="741"/>
                  </a:lnTo>
                  <a:lnTo>
                    <a:pt x="573" y="707"/>
                  </a:lnTo>
                  <a:lnTo>
                    <a:pt x="573" y="808"/>
                  </a:lnTo>
                  <a:lnTo>
                    <a:pt x="607" y="876"/>
                  </a:lnTo>
                  <a:lnTo>
                    <a:pt x="708" y="876"/>
                  </a:lnTo>
                  <a:lnTo>
                    <a:pt x="708" y="775"/>
                  </a:lnTo>
                  <a:lnTo>
                    <a:pt x="708" y="674"/>
                  </a:lnTo>
                  <a:lnTo>
                    <a:pt x="775" y="674"/>
                  </a:lnTo>
                  <a:lnTo>
                    <a:pt x="775" y="606"/>
                  </a:lnTo>
                  <a:lnTo>
                    <a:pt x="775" y="539"/>
                  </a:lnTo>
                  <a:lnTo>
                    <a:pt x="708" y="505"/>
                  </a:lnTo>
                  <a:lnTo>
                    <a:pt x="742" y="337"/>
                  </a:lnTo>
                  <a:lnTo>
                    <a:pt x="742" y="270"/>
                  </a:lnTo>
                  <a:lnTo>
                    <a:pt x="708" y="303"/>
                  </a:lnTo>
                  <a:lnTo>
                    <a:pt x="607" y="505"/>
                  </a:lnTo>
                  <a:lnTo>
                    <a:pt x="237" y="539"/>
                  </a:lnTo>
                  <a:lnTo>
                    <a:pt x="237" y="539"/>
                  </a:lnTo>
                  <a:lnTo>
                    <a:pt x="371" y="303"/>
                  </a:lnTo>
                  <a:lnTo>
                    <a:pt x="472" y="68"/>
                  </a:lnTo>
                  <a:lnTo>
                    <a:pt x="472" y="34"/>
                  </a:lnTo>
                  <a:lnTo>
                    <a:pt x="40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2" name="Google Shape;862;p5"/>
            <p:cNvSpPr/>
            <p:nvPr/>
          </p:nvSpPr>
          <p:spPr>
            <a:xfrm>
              <a:off x="775039" y="275112"/>
              <a:ext cx="110755" cy="122514"/>
            </a:xfrm>
            <a:custGeom>
              <a:avLst/>
              <a:gdLst/>
              <a:ahLst/>
              <a:cxnLst/>
              <a:rect l="l" t="t" r="r" b="b"/>
              <a:pathLst>
                <a:path w="2223" h="2459" extrusionOk="0">
                  <a:moveTo>
                    <a:pt x="1785" y="0"/>
                  </a:moveTo>
                  <a:lnTo>
                    <a:pt x="1313" y="68"/>
                  </a:lnTo>
                  <a:lnTo>
                    <a:pt x="707" y="68"/>
                  </a:lnTo>
                  <a:lnTo>
                    <a:pt x="101" y="101"/>
                  </a:lnTo>
                  <a:lnTo>
                    <a:pt x="34" y="135"/>
                  </a:lnTo>
                  <a:lnTo>
                    <a:pt x="0" y="202"/>
                  </a:lnTo>
                  <a:lnTo>
                    <a:pt x="34" y="236"/>
                  </a:lnTo>
                  <a:lnTo>
                    <a:pt x="68" y="303"/>
                  </a:lnTo>
                  <a:lnTo>
                    <a:pt x="34" y="505"/>
                  </a:lnTo>
                  <a:lnTo>
                    <a:pt x="34" y="741"/>
                  </a:lnTo>
                  <a:lnTo>
                    <a:pt x="68" y="1179"/>
                  </a:lnTo>
                  <a:lnTo>
                    <a:pt x="68" y="1717"/>
                  </a:lnTo>
                  <a:lnTo>
                    <a:pt x="68" y="2020"/>
                  </a:lnTo>
                  <a:lnTo>
                    <a:pt x="101" y="2290"/>
                  </a:lnTo>
                  <a:lnTo>
                    <a:pt x="68" y="2323"/>
                  </a:lnTo>
                  <a:lnTo>
                    <a:pt x="101" y="2391"/>
                  </a:lnTo>
                  <a:lnTo>
                    <a:pt x="135" y="2458"/>
                  </a:lnTo>
                  <a:lnTo>
                    <a:pt x="202" y="2458"/>
                  </a:lnTo>
                  <a:lnTo>
                    <a:pt x="808" y="2424"/>
                  </a:lnTo>
                  <a:lnTo>
                    <a:pt x="1448" y="2391"/>
                  </a:lnTo>
                  <a:lnTo>
                    <a:pt x="1852" y="2391"/>
                  </a:lnTo>
                  <a:lnTo>
                    <a:pt x="2054" y="2323"/>
                  </a:lnTo>
                  <a:lnTo>
                    <a:pt x="2121" y="2290"/>
                  </a:lnTo>
                  <a:lnTo>
                    <a:pt x="2222" y="2222"/>
                  </a:lnTo>
                  <a:lnTo>
                    <a:pt x="2121" y="2155"/>
                  </a:lnTo>
                  <a:lnTo>
                    <a:pt x="2020" y="2121"/>
                  </a:lnTo>
                  <a:lnTo>
                    <a:pt x="1852" y="2121"/>
                  </a:lnTo>
                  <a:lnTo>
                    <a:pt x="1414" y="2155"/>
                  </a:lnTo>
                  <a:lnTo>
                    <a:pt x="303" y="2222"/>
                  </a:lnTo>
                  <a:lnTo>
                    <a:pt x="303" y="1953"/>
                  </a:lnTo>
                  <a:lnTo>
                    <a:pt x="303" y="1684"/>
                  </a:lnTo>
                  <a:lnTo>
                    <a:pt x="270" y="1179"/>
                  </a:lnTo>
                  <a:lnTo>
                    <a:pt x="270" y="741"/>
                  </a:lnTo>
                  <a:lnTo>
                    <a:pt x="270" y="505"/>
                  </a:lnTo>
                  <a:lnTo>
                    <a:pt x="202" y="303"/>
                  </a:lnTo>
                  <a:lnTo>
                    <a:pt x="842" y="303"/>
                  </a:lnTo>
                  <a:lnTo>
                    <a:pt x="1482" y="270"/>
                  </a:lnTo>
                  <a:lnTo>
                    <a:pt x="1886" y="236"/>
                  </a:lnTo>
                  <a:lnTo>
                    <a:pt x="2088" y="169"/>
                  </a:lnTo>
                  <a:lnTo>
                    <a:pt x="2155" y="135"/>
                  </a:lnTo>
                  <a:lnTo>
                    <a:pt x="2222" y="68"/>
                  </a:lnTo>
                  <a:lnTo>
                    <a:pt x="2222" y="34"/>
                  </a:lnTo>
                  <a:lnTo>
                    <a:pt x="202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3" name="Google Shape;863;p5"/>
            <p:cNvSpPr/>
            <p:nvPr/>
          </p:nvSpPr>
          <p:spPr>
            <a:xfrm>
              <a:off x="603948" y="152649"/>
              <a:ext cx="15146" cy="115787"/>
            </a:xfrm>
            <a:custGeom>
              <a:avLst/>
              <a:gdLst/>
              <a:ahLst/>
              <a:cxnLst/>
              <a:rect l="l" t="t" r="r" b="b"/>
              <a:pathLst>
                <a:path w="304" h="2324" extrusionOk="0">
                  <a:moveTo>
                    <a:pt x="34" y="1"/>
                  </a:moveTo>
                  <a:lnTo>
                    <a:pt x="34" y="34"/>
                  </a:lnTo>
                  <a:lnTo>
                    <a:pt x="0" y="304"/>
                  </a:lnTo>
                  <a:lnTo>
                    <a:pt x="0" y="539"/>
                  </a:lnTo>
                  <a:lnTo>
                    <a:pt x="0" y="1078"/>
                  </a:lnTo>
                  <a:lnTo>
                    <a:pt x="34" y="1684"/>
                  </a:lnTo>
                  <a:lnTo>
                    <a:pt x="101" y="1987"/>
                  </a:lnTo>
                  <a:lnTo>
                    <a:pt x="169" y="2290"/>
                  </a:lnTo>
                  <a:lnTo>
                    <a:pt x="202" y="2324"/>
                  </a:lnTo>
                  <a:lnTo>
                    <a:pt x="303" y="2324"/>
                  </a:lnTo>
                  <a:lnTo>
                    <a:pt x="303" y="2256"/>
                  </a:lnTo>
                  <a:lnTo>
                    <a:pt x="303" y="1953"/>
                  </a:lnTo>
                  <a:lnTo>
                    <a:pt x="303" y="1650"/>
                  </a:lnTo>
                  <a:lnTo>
                    <a:pt x="236" y="1078"/>
                  </a:lnTo>
                  <a:lnTo>
                    <a:pt x="202" y="539"/>
                  </a:lnTo>
                  <a:lnTo>
                    <a:pt x="169" y="270"/>
                  </a:lnTo>
                  <a:lnTo>
                    <a:pt x="135" y="34"/>
                  </a:lnTo>
                  <a:lnTo>
                    <a:pt x="10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4" name="Google Shape;864;p5"/>
            <p:cNvSpPr/>
            <p:nvPr/>
          </p:nvSpPr>
          <p:spPr>
            <a:xfrm>
              <a:off x="632447" y="276757"/>
              <a:ext cx="129240" cy="125901"/>
            </a:xfrm>
            <a:custGeom>
              <a:avLst/>
              <a:gdLst/>
              <a:ahLst/>
              <a:cxnLst/>
              <a:rect l="l" t="t" r="r" b="b"/>
              <a:pathLst>
                <a:path w="2594" h="2527" extrusionOk="0">
                  <a:moveTo>
                    <a:pt x="2290" y="237"/>
                  </a:moveTo>
                  <a:lnTo>
                    <a:pt x="2324" y="674"/>
                  </a:lnTo>
                  <a:lnTo>
                    <a:pt x="2324" y="1078"/>
                  </a:lnTo>
                  <a:lnTo>
                    <a:pt x="2324" y="1684"/>
                  </a:lnTo>
                  <a:lnTo>
                    <a:pt x="2324" y="1987"/>
                  </a:lnTo>
                  <a:lnTo>
                    <a:pt x="2357" y="2290"/>
                  </a:lnTo>
                  <a:lnTo>
                    <a:pt x="2357" y="2290"/>
                  </a:lnTo>
                  <a:lnTo>
                    <a:pt x="2223" y="2223"/>
                  </a:lnTo>
                  <a:lnTo>
                    <a:pt x="2122" y="2156"/>
                  </a:lnTo>
                  <a:lnTo>
                    <a:pt x="1819" y="2156"/>
                  </a:lnTo>
                  <a:lnTo>
                    <a:pt x="1246" y="2189"/>
                  </a:lnTo>
                  <a:lnTo>
                    <a:pt x="775" y="2189"/>
                  </a:lnTo>
                  <a:lnTo>
                    <a:pt x="539" y="2223"/>
                  </a:lnTo>
                  <a:lnTo>
                    <a:pt x="304" y="2257"/>
                  </a:lnTo>
                  <a:lnTo>
                    <a:pt x="236" y="1078"/>
                  </a:lnTo>
                  <a:lnTo>
                    <a:pt x="236" y="742"/>
                  </a:lnTo>
                  <a:lnTo>
                    <a:pt x="169" y="439"/>
                  </a:lnTo>
                  <a:lnTo>
                    <a:pt x="236" y="439"/>
                  </a:lnTo>
                  <a:lnTo>
                    <a:pt x="270" y="405"/>
                  </a:lnTo>
                  <a:lnTo>
                    <a:pt x="304" y="371"/>
                  </a:lnTo>
                  <a:lnTo>
                    <a:pt x="1347" y="338"/>
                  </a:lnTo>
                  <a:lnTo>
                    <a:pt x="1819" y="304"/>
                  </a:lnTo>
                  <a:lnTo>
                    <a:pt x="2054" y="270"/>
                  </a:lnTo>
                  <a:lnTo>
                    <a:pt x="2290" y="237"/>
                  </a:lnTo>
                  <a:close/>
                  <a:moveTo>
                    <a:pt x="2357" y="1"/>
                  </a:moveTo>
                  <a:lnTo>
                    <a:pt x="2324" y="35"/>
                  </a:lnTo>
                  <a:lnTo>
                    <a:pt x="2290" y="35"/>
                  </a:lnTo>
                  <a:lnTo>
                    <a:pt x="2290" y="136"/>
                  </a:lnTo>
                  <a:lnTo>
                    <a:pt x="1953" y="102"/>
                  </a:lnTo>
                  <a:lnTo>
                    <a:pt x="1583" y="102"/>
                  </a:lnTo>
                  <a:lnTo>
                    <a:pt x="876" y="169"/>
                  </a:lnTo>
                  <a:lnTo>
                    <a:pt x="270" y="169"/>
                  </a:lnTo>
                  <a:lnTo>
                    <a:pt x="203" y="203"/>
                  </a:lnTo>
                  <a:lnTo>
                    <a:pt x="135" y="270"/>
                  </a:lnTo>
                  <a:lnTo>
                    <a:pt x="102" y="270"/>
                  </a:lnTo>
                  <a:lnTo>
                    <a:pt x="102" y="237"/>
                  </a:lnTo>
                  <a:lnTo>
                    <a:pt x="68" y="237"/>
                  </a:lnTo>
                  <a:lnTo>
                    <a:pt x="1" y="506"/>
                  </a:lnTo>
                  <a:lnTo>
                    <a:pt x="1" y="742"/>
                  </a:lnTo>
                  <a:lnTo>
                    <a:pt x="68" y="1247"/>
                  </a:lnTo>
                  <a:lnTo>
                    <a:pt x="102" y="2425"/>
                  </a:lnTo>
                  <a:lnTo>
                    <a:pt x="135" y="2492"/>
                  </a:lnTo>
                  <a:lnTo>
                    <a:pt x="203" y="2526"/>
                  </a:lnTo>
                  <a:lnTo>
                    <a:pt x="270" y="2492"/>
                  </a:lnTo>
                  <a:lnTo>
                    <a:pt x="304" y="2459"/>
                  </a:lnTo>
                  <a:lnTo>
                    <a:pt x="573" y="2492"/>
                  </a:lnTo>
                  <a:lnTo>
                    <a:pt x="842" y="2492"/>
                  </a:lnTo>
                  <a:lnTo>
                    <a:pt x="1415" y="2459"/>
                  </a:lnTo>
                  <a:lnTo>
                    <a:pt x="1920" y="2459"/>
                  </a:lnTo>
                  <a:lnTo>
                    <a:pt x="2155" y="2425"/>
                  </a:lnTo>
                  <a:lnTo>
                    <a:pt x="2256" y="2358"/>
                  </a:lnTo>
                  <a:lnTo>
                    <a:pt x="2357" y="2290"/>
                  </a:lnTo>
                  <a:lnTo>
                    <a:pt x="2357" y="2324"/>
                  </a:lnTo>
                  <a:lnTo>
                    <a:pt x="2425" y="2358"/>
                  </a:lnTo>
                  <a:lnTo>
                    <a:pt x="2492" y="2358"/>
                  </a:lnTo>
                  <a:lnTo>
                    <a:pt x="2526" y="2290"/>
                  </a:lnTo>
                  <a:lnTo>
                    <a:pt x="2559" y="1987"/>
                  </a:lnTo>
                  <a:lnTo>
                    <a:pt x="2593" y="1684"/>
                  </a:lnTo>
                  <a:lnTo>
                    <a:pt x="2559" y="1078"/>
                  </a:lnTo>
                  <a:lnTo>
                    <a:pt x="2526" y="540"/>
                  </a:lnTo>
                  <a:lnTo>
                    <a:pt x="2492" y="304"/>
                  </a:lnTo>
                  <a:lnTo>
                    <a:pt x="2425" y="35"/>
                  </a:lnTo>
                  <a:lnTo>
                    <a:pt x="2391" y="35"/>
                  </a:lnTo>
                  <a:lnTo>
                    <a:pt x="235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5" name="Google Shape;865;p5"/>
            <p:cNvSpPr/>
            <p:nvPr/>
          </p:nvSpPr>
          <p:spPr>
            <a:xfrm>
              <a:off x="966258" y="318707"/>
              <a:ext cx="38612" cy="35274"/>
            </a:xfrm>
            <a:custGeom>
              <a:avLst/>
              <a:gdLst/>
              <a:ahLst/>
              <a:cxnLst/>
              <a:rect l="l" t="t" r="r" b="b"/>
              <a:pathLst>
                <a:path w="775" h="708" extrusionOk="0">
                  <a:moveTo>
                    <a:pt x="573" y="1"/>
                  </a:moveTo>
                  <a:lnTo>
                    <a:pt x="506" y="34"/>
                  </a:lnTo>
                  <a:lnTo>
                    <a:pt x="472" y="102"/>
                  </a:lnTo>
                  <a:lnTo>
                    <a:pt x="438" y="236"/>
                  </a:lnTo>
                  <a:lnTo>
                    <a:pt x="438" y="270"/>
                  </a:lnTo>
                  <a:lnTo>
                    <a:pt x="203" y="304"/>
                  </a:lnTo>
                  <a:lnTo>
                    <a:pt x="169" y="135"/>
                  </a:lnTo>
                  <a:lnTo>
                    <a:pt x="135" y="102"/>
                  </a:lnTo>
                  <a:lnTo>
                    <a:pt x="68" y="102"/>
                  </a:lnTo>
                  <a:lnTo>
                    <a:pt x="68" y="135"/>
                  </a:lnTo>
                  <a:lnTo>
                    <a:pt x="34" y="337"/>
                  </a:lnTo>
                  <a:lnTo>
                    <a:pt x="1" y="371"/>
                  </a:lnTo>
                  <a:lnTo>
                    <a:pt x="34" y="438"/>
                  </a:lnTo>
                  <a:lnTo>
                    <a:pt x="68" y="640"/>
                  </a:lnTo>
                  <a:lnTo>
                    <a:pt x="102" y="674"/>
                  </a:lnTo>
                  <a:lnTo>
                    <a:pt x="169" y="674"/>
                  </a:lnTo>
                  <a:lnTo>
                    <a:pt x="203" y="640"/>
                  </a:lnTo>
                  <a:lnTo>
                    <a:pt x="236" y="573"/>
                  </a:lnTo>
                  <a:lnTo>
                    <a:pt x="203" y="472"/>
                  </a:lnTo>
                  <a:lnTo>
                    <a:pt x="472" y="472"/>
                  </a:lnTo>
                  <a:lnTo>
                    <a:pt x="506" y="607"/>
                  </a:lnTo>
                  <a:lnTo>
                    <a:pt x="506" y="640"/>
                  </a:lnTo>
                  <a:lnTo>
                    <a:pt x="573" y="708"/>
                  </a:lnTo>
                  <a:lnTo>
                    <a:pt x="607" y="708"/>
                  </a:lnTo>
                  <a:lnTo>
                    <a:pt x="640" y="674"/>
                  </a:lnTo>
                  <a:lnTo>
                    <a:pt x="640" y="640"/>
                  </a:lnTo>
                  <a:lnTo>
                    <a:pt x="674" y="573"/>
                  </a:lnTo>
                  <a:lnTo>
                    <a:pt x="640" y="438"/>
                  </a:lnTo>
                  <a:lnTo>
                    <a:pt x="741" y="371"/>
                  </a:lnTo>
                  <a:lnTo>
                    <a:pt x="775" y="304"/>
                  </a:lnTo>
                  <a:lnTo>
                    <a:pt x="775" y="270"/>
                  </a:lnTo>
                  <a:lnTo>
                    <a:pt x="741" y="236"/>
                  </a:lnTo>
                  <a:lnTo>
                    <a:pt x="674" y="203"/>
                  </a:lnTo>
                  <a:lnTo>
                    <a:pt x="607" y="236"/>
                  </a:lnTo>
                  <a:lnTo>
                    <a:pt x="607" y="135"/>
                  </a:lnTo>
                  <a:lnTo>
                    <a:pt x="640" y="68"/>
                  </a:lnTo>
                  <a:lnTo>
                    <a:pt x="640" y="34"/>
                  </a:lnTo>
                  <a:lnTo>
                    <a:pt x="6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6" name="Google Shape;866;p5"/>
            <p:cNvSpPr/>
            <p:nvPr/>
          </p:nvSpPr>
          <p:spPr>
            <a:xfrm>
              <a:off x="818633" y="318707"/>
              <a:ext cx="50371" cy="45338"/>
            </a:xfrm>
            <a:custGeom>
              <a:avLst/>
              <a:gdLst/>
              <a:ahLst/>
              <a:cxnLst/>
              <a:rect l="l" t="t" r="r" b="b"/>
              <a:pathLst>
                <a:path w="1011" h="910" extrusionOk="0">
                  <a:moveTo>
                    <a:pt x="371" y="1"/>
                  </a:moveTo>
                  <a:lnTo>
                    <a:pt x="270" y="34"/>
                  </a:lnTo>
                  <a:lnTo>
                    <a:pt x="169" y="135"/>
                  </a:lnTo>
                  <a:lnTo>
                    <a:pt x="68" y="203"/>
                  </a:lnTo>
                  <a:lnTo>
                    <a:pt x="34" y="337"/>
                  </a:lnTo>
                  <a:lnTo>
                    <a:pt x="1" y="472"/>
                  </a:lnTo>
                  <a:lnTo>
                    <a:pt x="34" y="573"/>
                  </a:lnTo>
                  <a:lnTo>
                    <a:pt x="68" y="674"/>
                  </a:lnTo>
                  <a:lnTo>
                    <a:pt x="135" y="741"/>
                  </a:lnTo>
                  <a:lnTo>
                    <a:pt x="203" y="809"/>
                  </a:lnTo>
                  <a:lnTo>
                    <a:pt x="304" y="842"/>
                  </a:lnTo>
                  <a:lnTo>
                    <a:pt x="405" y="876"/>
                  </a:lnTo>
                  <a:lnTo>
                    <a:pt x="506" y="876"/>
                  </a:lnTo>
                  <a:lnTo>
                    <a:pt x="607" y="809"/>
                  </a:lnTo>
                  <a:lnTo>
                    <a:pt x="607" y="876"/>
                  </a:lnTo>
                  <a:lnTo>
                    <a:pt x="640" y="910"/>
                  </a:lnTo>
                  <a:lnTo>
                    <a:pt x="674" y="910"/>
                  </a:lnTo>
                  <a:lnTo>
                    <a:pt x="708" y="876"/>
                  </a:lnTo>
                  <a:lnTo>
                    <a:pt x="708" y="842"/>
                  </a:lnTo>
                  <a:lnTo>
                    <a:pt x="708" y="741"/>
                  </a:lnTo>
                  <a:lnTo>
                    <a:pt x="708" y="607"/>
                  </a:lnTo>
                  <a:lnTo>
                    <a:pt x="708" y="573"/>
                  </a:lnTo>
                  <a:lnTo>
                    <a:pt x="943" y="539"/>
                  </a:lnTo>
                  <a:lnTo>
                    <a:pt x="977" y="506"/>
                  </a:lnTo>
                  <a:lnTo>
                    <a:pt x="1011" y="438"/>
                  </a:lnTo>
                  <a:lnTo>
                    <a:pt x="977" y="371"/>
                  </a:lnTo>
                  <a:lnTo>
                    <a:pt x="910" y="337"/>
                  </a:lnTo>
                  <a:lnTo>
                    <a:pt x="674" y="337"/>
                  </a:lnTo>
                  <a:lnTo>
                    <a:pt x="539" y="371"/>
                  </a:lnTo>
                  <a:lnTo>
                    <a:pt x="438" y="438"/>
                  </a:lnTo>
                  <a:lnTo>
                    <a:pt x="405" y="472"/>
                  </a:lnTo>
                  <a:lnTo>
                    <a:pt x="438" y="506"/>
                  </a:lnTo>
                  <a:lnTo>
                    <a:pt x="607" y="539"/>
                  </a:lnTo>
                  <a:lnTo>
                    <a:pt x="607" y="573"/>
                  </a:lnTo>
                  <a:lnTo>
                    <a:pt x="607" y="640"/>
                  </a:lnTo>
                  <a:lnTo>
                    <a:pt x="506" y="674"/>
                  </a:lnTo>
                  <a:lnTo>
                    <a:pt x="405" y="674"/>
                  </a:lnTo>
                  <a:lnTo>
                    <a:pt x="304" y="640"/>
                  </a:lnTo>
                  <a:lnTo>
                    <a:pt x="236" y="607"/>
                  </a:lnTo>
                  <a:lnTo>
                    <a:pt x="203" y="539"/>
                  </a:lnTo>
                  <a:lnTo>
                    <a:pt x="203" y="438"/>
                  </a:lnTo>
                  <a:lnTo>
                    <a:pt x="203" y="337"/>
                  </a:lnTo>
                  <a:lnTo>
                    <a:pt x="270" y="270"/>
                  </a:lnTo>
                  <a:lnTo>
                    <a:pt x="337" y="203"/>
                  </a:lnTo>
                  <a:lnTo>
                    <a:pt x="539" y="135"/>
                  </a:lnTo>
                  <a:lnTo>
                    <a:pt x="741" y="102"/>
                  </a:lnTo>
                  <a:lnTo>
                    <a:pt x="741" y="68"/>
                  </a:lnTo>
                  <a:lnTo>
                    <a:pt x="60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7" name="Google Shape;867;p5"/>
            <p:cNvSpPr/>
            <p:nvPr/>
          </p:nvSpPr>
          <p:spPr>
            <a:xfrm>
              <a:off x="1040045" y="446203"/>
              <a:ext cx="38662" cy="33580"/>
            </a:xfrm>
            <a:custGeom>
              <a:avLst/>
              <a:gdLst/>
              <a:ahLst/>
              <a:cxnLst/>
              <a:rect l="l" t="t" r="r" b="b"/>
              <a:pathLst>
                <a:path w="776" h="674" extrusionOk="0">
                  <a:moveTo>
                    <a:pt x="102" y="0"/>
                  </a:moveTo>
                  <a:lnTo>
                    <a:pt x="35" y="34"/>
                  </a:lnTo>
                  <a:lnTo>
                    <a:pt x="35" y="101"/>
                  </a:lnTo>
                  <a:lnTo>
                    <a:pt x="35" y="135"/>
                  </a:lnTo>
                  <a:lnTo>
                    <a:pt x="1" y="270"/>
                  </a:lnTo>
                  <a:lnTo>
                    <a:pt x="1" y="573"/>
                  </a:lnTo>
                  <a:lnTo>
                    <a:pt x="35" y="640"/>
                  </a:lnTo>
                  <a:lnTo>
                    <a:pt x="102" y="674"/>
                  </a:lnTo>
                  <a:lnTo>
                    <a:pt x="136" y="640"/>
                  </a:lnTo>
                  <a:lnTo>
                    <a:pt x="203" y="606"/>
                  </a:lnTo>
                  <a:lnTo>
                    <a:pt x="203" y="371"/>
                  </a:lnTo>
                  <a:lnTo>
                    <a:pt x="405" y="573"/>
                  </a:lnTo>
                  <a:lnTo>
                    <a:pt x="472" y="606"/>
                  </a:lnTo>
                  <a:lnTo>
                    <a:pt x="573" y="640"/>
                  </a:lnTo>
                  <a:lnTo>
                    <a:pt x="674" y="640"/>
                  </a:lnTo>
                  <a:lnTo>
                    <a:pt x="742" y="573"/>
                  </a:lnTo>
                  <a:lnTo>
                    <a:pt x="775" y="505"/>
                  </a:lnTo>
                  <a:lnTo>
                    <a:pt x="775" y="438"/>
                  </a:lnTo>
                  <a:lnTo>
                    <a:pt x="742" y="270"/>
                  </a:lnTo>
                  <a:lnTo>
                    <a:pt x="708" y="135"/>
                  </a:lnTo>
                  <a:lnTo>
                    <a:pt x="708" y="68"/>
                  </a:lnTo>
                  <a:lnTo>
                    <a:pt x="641" y="34"/>
                  </a:lnTo>
                  <a:lnTo>
                    <a:pt x="607" y="34"/>
                  </a:lnTo>
                  <a:lnTo>
                    <a:pt x="540" y="68"/>
                  </a:lnTo>
                  <a:lnTo>
                    <a:pt x="506" y="169"/>
                  </a:lnTo>
                  <a:lnTo>
                    <a:pt x="506" y="236"/>
                  </a:lnTo>
                  <a:lnTo>
                    <a:pt x="573" y="438"/>
                  </a:lnTo>
                  <a:lnTo>
                    <a:pt x="506" y="404"/>
                  </a:lnTo>
                  <a:lnTo>
                    <a:pt x="439" y="337"/>
                  </a:lnTo>
                  <a:lnTo>
                    <a:pt x="203" y="34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68" name="Google Shape;868;p5"/>
            <p:cNvSpPr/>
            <p:nvPr/>
          </p:nvSpPr>
          <p:spPr>
            <a:xfrm>
              <a:off x="912599" y="268386"/>
              <a:ext cx="129190" cy="120820"/>
            </a:xfrm>
            <a:custGeom>
              <a:avLst/>
              <a:gdLst/>
              <a:ahLst/>
              <a:cxnLst/>
              <a:rect l="l" t="t" r="r" b="b"/>
              <a:pathLst>
                <a:path w="2593" h="2425" extrusionOk="0">
                  <a:moveTo>
                    <a:pt x="1785" y="1"/>
                  </a:moveTo>
                  <a:lnTo>
                    <a:pt x="1280" y="68"/>
                  </a:lnTo>
                  <a:lnTo>
                    <a:pt x="707" y="102"/>
                  </a:lnTo>
                  <a:lnTo>
                    <a:pt x="135" y="203"/>
                  </a:lnTo>
                  <a:lnTo>
                    <a:pt x="101" y="135"/>
                  </a:lnTo>
                  <a:lnTo>
                    <a:pt x="101" y="102"/>
                  </a:lnTo>
                  <a:lnTo>
                    <a:pt x="34" y="102"/>
                  </a:lnTo>
                  <a:lnTo>
                    <a:pt x="0" y="135"/>
                  </a:lnTo>
                  <a:lnTo>
                    <a:pt x="0" y="438"/>
                  </a:lnTo>
                  <a:lnTo>
                    <a:pt x="0" y="741"/>
                  </a:lnTo>
                  <a:lnTo>
                    <a:pt x="34" y="1347"/>
                  </a:lnTo>
                  <a:lnTo>
                    <a:pt x="34" y="1852"/>
                  </a:lnTo>
                  <a:lnTo>
                    <a:pt x="67" y="2122"/>
                  </a:lnTo>
                  <a:lnTo>
                    <a:pt x="101" y="2391"/>
                  </a:lnTo>
                  <a:lnTo>
                    <a:pt x="135" y="2391"/>
                  </a:lnTo>
                  <a:lnTo>
                    <a:pt x="135" y="2425"/>
                  </a:lnTo>
                  <a:lnTo>
                    <a:pt x="202" y="2391"/>
                  </a:lnTo>
                  <a:lnTo>
                    <a:pt x="1313" y="2391"/>
                  </a:lnTo>
                  <a:lnTo>
                    <a:pt x="1818" y="2357"/>
                  </a:lnTo>
                  <a:lnTo>
                    <a:pt x="2088" y="2324"/>
                  </a:lnTo>
                  <a:lnTo>
                    <a:pt x="2323" y="2290"/>
                  </a:lnTo>
                  <a:lnTo>
                    <a:pt x="2357" y="2324"/>
                  </a:lnTo>
                  <a:lnTo>
                    <a:pt x="2391" y="2324"/>
                  </a:lnTo>
                  <a:lnTo>
                    <a:pt x="2492" y="2290"/>
                  </a:lnTo>
                  <a:lnTo>
                    <a:pt x="2559" y="2189"/>
                  </a:lnTo>
                  <a:lnTo>
                    <a:pt x="2559" y="2088"/>
                  </a:lnTo>
                  <a:lnTo>
                    <a:pt x="2593" y="1953"/>
                  </a:lnTo>
                  <a:lnTo>
                    <a:pt x="2559" y="1718"/>
                  </a:lnTo>
                  <a:lnTo>
                    <a:pt x="2525" y="1482"/>
                  </a:lnTo>
                  <a:lnTo>
                    <a:pt x="2525" y="741"/>
                  </a:lnTo>
                  <a:lnTo>
                    <a:pt x="2458" y="405"/>
                  </a:lnTo>
                  <a:lnTo>
                    <a:pt x="2391" y="236"/>
                  </a:lnTo>
                  <a:lnTo>
                    <a:pt x="2323" y="102"/>
                  </a:lnTo>
                  <a:lnTo>
                    <a:pt x="2290" y="102"/>
                  </a:lnTo>
                  <a:lnTo>
                    <a:pt x="2256" y="203"/>
                  </a:lnTo>
                  <a:lnTo>
                    <a:pt x="2256" y="337"/>
                  </a:lnTo>
                  <a:lnTo>
                    <a:pt x="2256" y="607"/>
                  </a:lnTo>
                  <a:lnTo>
                    <a:pt x="2290" y="1145"/>
                  </a:lnTo>
                  <a:lnTo>
                    <a:pt x="2323" y="1650"/>
                  </a:lnTo>
                  <a:lnTo>
                    <a:pt x="2323" y="2155"/>
                  </a:lnTo>
                  <a:lnTo>
                    <a:pt x="2088" y="2122"/>
                  </a:lnTo>
                  <a:lnTo>
                    <a:pt x="1818" y="2088"/>
                  </a:lnTo>
                  <a:lnTo>
                    <a:pt x="1280" y="2088"/>
                  </a:lnTo>
                  <a:lnTo>
                    <a:pt x="269" y="2189"/>
                  </a:lnTo>
                  <a:lnTo>
                    <a:pt x="236" y="2189"/>
                  </a:lnTo>
                  <a:lnTo>
                    <a:pt x="269" y="1920"/>
                  </a:lnTo>
                  <a:lnTo>
                    <a:pt x="269" y="1684"/>
                  </a:lnTo>
                  <a:lnTo>
                    <a:pt x="236" y="1145"/>
                  </a:lnTo>
                  <a:lnTo>
                    <a:pt x="202" y="775"/>
                  </a:lnTo>
                  <a:lnTo>
                    <a:pt x="168" y="405"/>
                  </a:lnTo>
                  <a:lnTo>
                    <a:pt x="808" y="337"/>
                  </a:lnTo>
                  <a:lnTo>
                    <a:pt x="1448" y="270"/>
                  </a:lnTo>
                  <a:lnTo>
                    <a:pt x="1886" y="236"/>
                  </a:lnTo>
                  <a:lnTo>
                    <a:pt x="2088" y="203"/>
                  </a:lnTo>
                  <a:lnTo>
                    <a:pt x="2290" y="102"/>
                  </a:lnTo>
                  <a:lnTo>
                    <a:pt x="2290" y="68"/>
                  </a:lnTo>
                  <a:lnTo>
                    <a:pt x="2155" y="34"/>
                  </a:lnTo>
                  <a:lnTo>
                    <a:pt x="20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17025" tIns="117025" rIns="117025" bIns="1170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69" name="Google Shape;869;p5"/>
          <p:cNvSpPr txBox="1">
            <a:spLocks noGrp="1"/>
          </p:cNvSpPr>
          <p:nvPr>
            <p:ph type="title"/>
          </p:nvPr>
        </p:nvSpPr>
        <p:spPr>
          <a:xfrm>
            <a:off x="1509000" y="830700"/>
            <a:ext cx="9174000" cy="77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870" name="Google Shape;870;p5"/>
          <p:cNvSpPr txBox="1">
            <a:spLocks noGrp="1"/>
          </p:cNvSpPr>
          <p:nvPr>
            <p:ph type="body" idx="1"/>
          </p:nvPr>
        </p:nvSpPr>
        <p:spPr>
          <a:xfrm>
            <a:off x="1509000" y="1750400"/>
            <a:ext cx="9174000" cy="466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507987">
              <a:spcBef>
                <a:spcPts val="800"/>
              </a:spcBef>
              <a:spcAft>
                <a:spcPts val="0"/>
              </a:spcAft>
              <a:buSzPts val="2400"/>
              <a:buChar char="✖"/>
              <a:defRPr/>
            </a:lvl1pPr>
            <a:lvl2pPr marL="1219170" lvl="1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2pPr>
            <a:lvl3pPr marL="1828754" lvl="2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2438339" lvl="3" indent="-507987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3047924" lvl="4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3657509" lvl="5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4267093" lvl="6" indent="-507987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4876678" lvl="7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5486263" lvl="8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sp>
        <p:nvSpPr>
          <p:cNvPr id="871" name="Google Shape;871;p5"/>
          <p:cNvSpPr txBox="1">
            <a:spLocks noGrp="1"/>
          </p:cNvSpPr>
          <p:nvPr>
            <p:ph type="sldNum" idx="12"/>
          </p:nvPr>
        </p:nvSpPr>
        <p:spPr>
          <a:xfrm>
            <a:off x="11665333" y="0"/>
            <a:ext cx="526400" cy="42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431530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7CB099F-3B97-46AC-8C45-AD97F23FBA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19800" y="685800"/>
            <a:ext cx="5486400" cy="5486400"/>
          </a:xfrm>
          <a:custGeom>
            <a:avLst/>
            <a:gdLst>
              <a:gd name="connsiteX0" fmla="*/ 0 w 5486400"/>
              <a:gd name="connsiteY0" fmla="*/ 0 h 5486400"/>
              <a:gd name="connsiteX1" fmla="*/ 5486400 w 5486400"/>
              <a:gd name="connsiteY1" fmla="*/ 0 h 5486400"/>
              <a:gd name="connsiteX2" fmla="*/ 5486400 w 5486400"/>
              <a:gd name="connsiteY2" fmla="*/ 5486400 h 5486400"/>
              <a:gd name="connsiteX3" fmla="*/ 0 w 548640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6400" h="5486400">
                <a:moveTo>
                  <a:pt x="0" y="0"/>
                </a:moveTo>
                <a:lnTo>
                  <a:pt x="5486400" y="0"/>
                </a:lnTo>
                <a:lnTo>
                  <a:pt x="5486400" y="5486400"/>
                </a:lnTo>
                <a:lnTo>
                  <a:pt x="0" y="5486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163538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638BE96-A599-4BFA-BAA1-15ECBDB3F1F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6096000"/>
              <a:gd name="connsiteY0" fmla="*/ 0 h 3429000"/>
              <a:gd name="connsiteX1" fmla="*/ 6096000 w 6096000"/>
              <a:gd name="connsiteY1" fmla="*/ 0 h 3429000"/>
              <a:gd name="connsiteX2" fmla="*/ 6096000 w 6096000"/>
              <a:gd name="connsiteY2" fmla="*/ 3429000 h 3429000"/>
              <a:gd name="connsiteX3" fmla="*/ 0 w 6096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9000">
                <a:moveTo>
                  <a:pt x="0" y="0"/>
                </a:moveTo>
                <a:lnTo>
                  <a:pt x="6096000" y="0"/>
                </a:lnTo>
                <a:lnTo>
                  <a:pt x="609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480806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4F4D835-E216-432A-9C80-32D1410331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5800" y="685800"/>
            <a:ext cx="5486400" cy="5486400"/>
          </a:xfrm>
          <a:custGeom>
            <a:avLst/>
            <a:gdLst>
              <a:gd name="connsiteX0" fmla="*/ 0 w 5486400"/>
              <a:gd name="connsiteY0" fmla="*/ 0 h 5486400"/>
              <a:gd name="connsiteX1" fmla="*/ 5486400 w 5486400"/>
              <a:gd name="connsiteY1" fmla="*/ 0 h 5486400"/>
              <a:gd name="connsiteX2" fmla="*/ 5486400 w 5486400"/>
              <a:gd name="connsiteY2" fmla="*/ 5486400 h 5486400"/>
              <a:gd name="connsiteX3" fmla="*/ 0 w 548640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6400" h="5486400">
                <a:moveTo>
                  <a:pt x="0" y="0"/>
                </a:moveTo>
                <a:lnTo>
                  <a:pt x="5486400" y="0"/>
                </a:lnTo>
                <a:lnTo>
                  <a:pt x="5486400" y="5486400"/>
                </a:lnTo>
                <a:lnTo>
                  <a:pt x="0" y="5486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978164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0392EA3-7705-490D-9A93-E59ED1B4F5F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8010525" cy="3429000"/>
          </a:xfrm>
          <a:custGeom>
            <a:avLst/>
            <a:gdLst>
              <a:gd name="connsiteX0" fmla="*/ 0 w 8010525"/>
              <a:gd name="connsiteY0" fmla="*/ 0 h 3429000"/>
              <a:gd name="connsiteX1" fmla="*/ 8010525 w 8010525"/>
              <a:gd name="connsiteY1" fmla="*/ 0 h 3429000"/>
              <a:gd name="connsiteX2" fmla="*/ 8010525 w 8010525"/>
              <a:gd name="connsiteY2" fmla="*/ 3429000 h 3429000"/>
              <a:gd name="connsiteX3" fmla="*/ 0 w 8010525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10525" h="3429000">
                <a:moveTo>
                  <a:pt x="0" y="0"/>
                </a:moveTo>
                <a:lnTo>
                  <a:pt x="8010525" y="0"/>
                </a:lnTo>
                <a:lnTo>
                  <a:pt x="8010525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953454-4AA7-446F-A927-5FB8B6308C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62949" y="2000250"/>
            <a:ext cx="3829050" cy="4857750"/>
          </a:xfrm>
          <a:custGeom>
            <a:avLst/>
            <a:gdLst>
              <a:gd name="connsiteX0" fmla="*/ 0 w 3829050"/>
              <a:gd name="connsiteY0" fmla="*/ 0 h 4857750"/>
              <a:gd name="connsiteX1" fmla="*/ 3829050 w 3829050"/>
              <a:gd name="connsiteY1" fmla="*/ 0 h 4857750"/>
              <a:gd name="connsiteX2" fmla="*/ 3829050 w 3829050"/>
              <a:gd name="connsiteY2" fmla="*/ 4857750 h 4857750"/>
              <a:gd name="connsiteX3" fmla="*/ 0 w 3829050"/>
              <a:gd name="connsiteY3" fmla="*/ 4857750 h 485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9050" h="4857750">
                <a:moveTo>
                  <a:pt x="0" y="0"/>
                </a:moveTo>
                <a:lnTo>
                  <a:pt x="3829050" y="0"/>
                </a:lnTo>
                <a:lnTo>
                  <a:pt x="3829050" y="4857750"/>
                </a:lnTo>
                <a:lnTo>
                  <a:pt x="0" y="48577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78472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E04C39-1715-4277-8CFD-71FE5199BB7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05300" y="0"/>
            <a:ext cx="4305300" cy="3429000"/>
          </a:xfrm>
          <a:custGeom>
            <a:avLst/>
            <a:gdLst>
              <a:gd name="connsiteX0" fmla="*/ 0 w 4305300"/>
              <a:gd name="connsiteY0" fmla="*/ 0 h 3429000"/>
              <a:gd name="connsiteX1" fmla="*/ 4305300 w 4305300"/>
              <a:gd name="connsiteY1" fmla="*/ 0 h 3429000"/>
              <a:gd name="connsiteX2" fmla="*/ 4305300 w 4305300"/>
              <a:gd name="connsiteY2" fmla="*/ 3429000 h 3429000"/>
              <a:gd name="connsiteX3" fmla="*/ 0 w 43053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300" h="3429000">
                <a:moveTo>
                  <a:pt x="0" y="0"/>
                </a:moveTo>
                <a:lnTo>
                  <a:pt x="4305300" y="0"/>
                </a:lnTo>
                <a:lnTo>
                  <a:pt x="43053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538234-4EE2-4858-9B0C-58B7966CF7A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9000"/>
            <a:ext cx="4305300" cy="3429000"/>
          </a:xfrm>
          <a:custGeom>
            <a:avLst/>
            <a:gdLst>
              <a:gd name="connsiteX0" fmla="*/ 0 w 4305300"/>
              <a:gd name="connsiteY0" fmla="*/ 0 h 3429000"/>
              <a:gd name="connsiteX1" fmla="*/ 4305300 w 4305300"/>
              <a:gd name="connsiteY1" fmla="*/ 0 h 3429000"/>
              <a:gd name="connsiteX2" fmla="*/ 4305300 w 4305300"/>
              <a:gd name="connsiteY2" fmla="*/ 3429000 h 3429000"/>
              <a:gd name="connsiteX3" fmla="*/ 0 w 43053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300" h="3429000">
                <a:moveTo>
                  <a:pt x="0" y="0"/>
                </a:moveTo>
                <a:lnTo>
                  <a:pt x="4305300" y="0"/>
                </a:lnTo>
                <a:lnTo>
                  <a:pt x="43053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318965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467DD9C-FCFC-4C27-B986-DAB86532F264}"/>
              </a:ext>
            </a:extLst>
          </p:cNvPr>
          <p:cNvSpPr txBox="1"/>
          <p:nvPr userDrawn="1"/>
        </p:nvSpPr>
        <p:spPr>
          <a:xfrm rot="10800000" flipV="1">
            <a:off x="580793" y="6489945"/>
            <a:ext cx="529808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/>
            <a:fld id="{260E2A6B-A809-4840-BF14-8648BC0BDF87}" type="slidenum">
              <a:rPr lang="id-ID" sz="1050" i="0" smtClean="0">
                <a:solidFill>
                  <a:schemeClr val="bg1">
                    <a:lumMod val="75000"/>
                  </a:schemeClr>
                </a:solidFill>
                <a:latin typeface="Ubuntu" panose="020B0504030602030204" pitchFamily="34" charset="0"/>
                <a:ea typeface="Lato" panose="020F0502020204030203" pitchFamily="34" charset="0"/>
                <a:cs typeface="Segoe UI" panose="020B0502040204020203" pitchFamily="34" charset="0"/>
              </a:rPr>
              <a:pPr algn="l"/>
              <a:t>‹#›</a:t>
            </a:fld>
            <a:endParaRPr lang="id-ID" sz="2000" i="0" dirty="0">
              <a:solidFill>
                <a:schemeClr val="bg1">
                  <a:lumMod val="75000"/>
                </a:schemeClr>
              </a:solidFill>
              <a:latin typeface="Ubuntu" panose="020B0504030602030204" pitchFamily="34" charset="0"/>
              <a:ea typeface="Lato" panose="020F050202020403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ADE6B5-AC8C-4DA3-B247-AE6D1847EC8D}"/>
              </a:ext>
            </a:extLst>
          </p:cNvPr>
          <p:cNvSpPr txBox="1"/>
          <p:nvPr userDrawn="1"/>
        </p:nvSpPr>
        <p:spPr>
          <a:xfrm>
            <a:off x="10603048" y="6493792"/>
            <a:ext cx="1481496" cy="25391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Ubuntu" panose="020B0504030602030204" pitchFamily="34" charset="0"/>
                <a:ea typeface="Lato" panose="020F0502020204030203" pitchFamily="34" charset="0"/>
                <a:cs typeface="Segoe UI" panose="020B0502040204020203" pitchFamily="34" charset="0"/>
              </a:rPr>
              <a:t>WWW.WEBSITE.COM</a:t>
            </a:r>
            <a:endParaRPr lang="id-ID" sz="1050" dirty="0">
              <a:solidFill>
                <a:schemeClr val="bg1">
                  <a:lumMod val="75000"/>
                </a:schemeClr>
              </a:solidFill>
              <a:latin typeface="Ubuntu" panose="020B0504030602030204" pitchFamily="34" charset="0"/>
              <a:ea typeface="Lato" panose="020F050202020403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C747C3-A046-4064-9802-81ECA0DD1EB3}"/>
              </a:ext>
            </a:extLst>
          </p:cNvPr>
          <p:cNvSpPr txBox="1"/>
          <p:nvPr userDrawn="1"/>
        </p:nvSpPr>
        <p:spPr>
          <a:xfrm>
            <a:off x="113162" y="6489945"/>
            <a:ext cx="538930" cy="261610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l"/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Ubuntu" panose="020B0504030602030204" pitchFamily="34" charset="0"/>
                <a:ea typeface="Lato" panose="020F0502020204030203" pitchFamily="34" charset="0"/>
                <a:cs typeface="Segoe UI" panose="020B0502040204020203" pitchFamily="34" charset="0"/>
              </a:rPr>
              <a:t>PAGE</a:t>
            </a:r>
            <a:endParaRPr lang="id-ID" sz="1050" dirty="0">
              <a:solidFill>
                <a:schemeClr val="bg1">
                  <a:lumMod val="75000"/>
                </a:schemeClr>
              </a:solidFill>
              <a:latin typeface="Ubuntu" panose="020B0504030602030204" pitchFamily="34" charset="0"/>
              <a:ea typeface="Lato" panose="020F050202020403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EADCD3B-23D4-4F25-BBD2-EF4D70715FE7}"/>
              </a:ext>
            </a:extLst>
          </p:cNvPr>
          <p:cNvGrpSpPr/>
          <p:nvPr userDrawn="1"/>
        </p:nvGrpSpPr>
        <p:grpSpPr>
          <a:xfrm>
            <a:off x="11444824" y="204709"/>
            <a:ext cx="544470" cy="82024"/>
            <a:chOff x="189393" y="204709"/>
            <a:chExt cx="544470" cy="8202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BA2939E-2EEE-4A3E-9967-E874738E58BA}"/>
                </a:ext>
              </a:extLst>
            </p:cNvPr>
            <p:cNvSpPr/>
            <p:nvPr/>
          </p:nvSpPr>
          <p:spPr>
            <a:xfrm>
              <a:off x="1893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EE3C1CF-9252-4AEA-BC12-DD9A47EE3F50}"/>
                </a:ext>
              </a:extLst>
            </p:cNvPr>
            <p:cNvSpPr/>
            <p:nvPr/>
          </p:nvSpPr>
          <p:spPr>
            <a:xfrm>
              <a:off x="3850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EF86A40-C5B8-476D-B94C-6035D4AFC7AF}"/>
                </a:ext>
              </a:extLst>
            </p:cNvPr>
            <p:cNvSpPr/>
            <p:nvPr/>
          </p:nvSpPr>
          <p:spPr>
            <a:xfrm>
              <a:off x="5807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354727-2E34-46AF-8120-84325FB02189}"/>
              </a:ext>
            </a:extLst>
          </p:cNvPr>
          <p:cNvGrpSpPr/>
          <p:nvPr userDrawn="1"/>
        </p:nvGrpSpPr>
        <p:grpSpPr>
          <a:xfrm>
            <a:off x="189393" y="204709"/>
            <a:ext cx="544470" cy="82024"/>
            <a:chOff x="189393" y="204709"/>
            <a:chExt cx="544470" cy="8202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715D9D7-4089-4A5E-B7B3-55F3CA836F9B}"/>
                </a:ext>
              </a:extLst>
            </p:cNvPr>
            <p:cNvSpPr/>
            <p:nvPr/>
          </p:nvSpPr>
          <p:spPr>
            <a:xfrm>
              <a:off x="1893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7AA1A4B-D008-46F2-BEA0-25EFA6346CE8}"/>
                </a:ext>
              </a:extLst>
            </p:cNvPr>
            <p:cNvSpPr/>
            <p:nvPr/>
          </p:nvSpPr>
          <p:spPr>
            <a:xfrm>
              <a:off x="3850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292405B-96BA-492B-B596-9F2F2FA4B59E}"/>
                </a:ext>
              </a:extLst>
            </p:cNvPr>
            <p:cNvSpPr/>
            <p:nvPr/>
          </p:nvSpPr>
          <p:spPr>
            <a:xfrm>
              <a:off x="580793" y="204709"/>
              <a:ext cx="153070" cy="82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621872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2" r:id="rId2"/>
    <p:sldLayoutId id="2147483652" r:id="rId3"/>
    <p:sldLayoutId id="2147483654" r:id="rId4"/>
    <p:sldLayoutId id="2147483655" r:id="rId5"/>
    <p:sldLayoutId id="2147483656" r:id="rId6"/>
    <p:sldLayoutId id="2147483669" r:id="rId7"/>
    <p:sldLayoutId id="2147483653" r:id="rId8"/>
    <p:sldLayoutId id="2147483657" r:id="rId9"/>
    <p:sldLayoutId id="2147483674" r:id="rId10"/>
    <p:sldLayoutId id="2147483660" r:id="rId11"/>
    <p:sldLayoutId id="2147483658" r:id="rId12"/>
    <p:sldLayoutId id="2147483659" r:id="rId13"/>
    <p:sldLayoutId id="2147483665" r:id="rId14"/>
    <p:sldLayoutId id="2147483661" r:id="rId15"/>
    <p:sldLayoutId id="2147483664" r:id="rId16"/>
    <p:sldLayoutId id="2147483663" r:id="rId17"/>
    <p:sldLayoutId id="2147483668" r:id="rId18"/>
    <p:sldLayoutId id="2147483670" r:id="rId19"/>
    <p:sldLayoutId id="2147483650" r:id="rId20"/>
    <p:sldLayoutId id="2147483667" r:id="rId21"/>
    <p:sldLayoutId id="2147483666" r:id="rId22"/>
    <p:sldLayoutId id="2147483671" r:id="rId23"/>
    <p:sldLayoutId id="2147483672" r:id="rId24"/>
    <p:sldLayoutId id="2147483673" r:id="rId25"/>
    <p:sldLayoutId id="2147483675" r:id="rId26"/>
    <p:sldLayoutId id="2147483676" r:id="rId27"/>
    <p:sldLayoutId id="2147483677" r:id="rId28"/>
    <p:sldLayoutId id="2147483678" r:id="rId29"/>
    <p:sldLayoutId id="2147483688" r:id="rId30"/>
    <p:sldLayoutId id="2147483679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9" r:id="rId38"/>
    <p:sldLayoutId id="2147483687" r:id="rId39"/>
    <p:sldLayoutId id="2147483690" r:id="rId40"/>
    <p:sldLayoutId id="2147483691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en.wikipedia.org/wiki/Object-oriented_programming" TargetMode="Externa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3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slideLayout" Target="../slideLayouts/slideLayout23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r="22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291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AC40601-E775-4D71-B81A-963E900251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BE8100-DB04-4F97-8578-831797730E50}"/>
              </a:ext>
            </a:extLst>
          </p:cNvPr>
          <p:cNvSpPr/>
          <p:nvPr/>
        </p:nvSpPr>
        <p:spPr>
          <a:xfrm>
            <a:off x="471948" y="1245393"/>
            <a:ext cx="4906297" cy="4367214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7A2CAD-F612-4C35-BD04-BE170D92ACFB}"/>
              </a:ext>
            </a:extLst>
          </p:cNvPr>
          <p:cNvSpPr/>
          <p:nvPr/>
        </p:nvSpPr>
        <p:spPr>
          <a:xfrm>
            <a:off x="5535562" y="3581277"/>
            <a:ext cx="6302478" cy="19262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What does OOP mean?</a:t>
            </a:r>
          </a:p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A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method of structuring a program by bundling related properties and behaviors into individual </a:t>
            </a:r>
            <a:r>
              <a:rPr lang="en-US" sz="16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object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. </a:t>
            </a:r>
            <a:endPara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In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another word,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OOP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is a programming paradigm based on the concept of </a:t>
            </a:r>
            <a:r>
              <a:rPr lang="en-US" sz="16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objects</a:t>
            </a:r>
            <a:r>
              <a:rPr lang="en-US" sz="16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.</a:t>
            </a:r>
            <a:endParaRPr lang="en-US" sz="1600" b="1" u="sng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endPara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5" name="Rectangle: Rounded Corners 4">
            <a:hlinkClick r:id="rId2"/>
            <a:extLst>
              <a:ext uri="{FF2B5EF4-FFF2-40B4-BE49-F238E27FC236}">
                <a16:creationId xmlns:a16="http://schemas.microsoft.com/office/drawing/2014/main" id="{B4279B06-8D91-49D4-968A-E82D80A5EF9B}"/>
              </a:ext>
            </a:extLst>
          </p:cNvPr>
          <p:cNvSpPr/>
          <p:nvPr/>
        </p:nvSpPr>
        <p:spPr>
          <a:xfrm>
            <a:off x="5628662" y="5326857"/>
            <a:ext cx="1000125" cy="28575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Ubuntu" panose="020B0504030602030204" pitchFamily="34" charset="0"/>
              </a:rPr>
              <a:t>Read Mo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8820F1-DAA8-4712-A895-C6577528312A}"/>
              </a:ext>
            </a:extLst>
          </p:cNvPr>
          <p:cNvSpPr txBox="1"/>
          <p:nvPr/>
        </p:nvSpPr>
        <p:spPr>
          <a:xfrm>
            <a:off x="471948" y="3678299"/>
            <a:ext cx="5338917" cy="12557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2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. 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An Introduction to</a:t>
            </a:r>
          </a:p>
          <a:p>
            <a:pPr>
              <a:lnSpc>
                <a:spcPct val="90000"/>
              </a:lnSpc>
            </a:pPr>
            <a:r>
              <a:rPr lang="en-US" sz="28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O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bject </a:t>
            </a:r>
            <a:r>
              <a:rPr lang="en-US" sz="28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O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riented </a:t>
            </a:r>
            <a:r>
              <a:rPr lang="en-US" sz="28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P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rogramming (OOP)</a:t>
            </a: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71DC9C-E3FF-4B4B-AA5F-D0C6A20B2B73}"/>
              </a:ext>
            </a:extLst>
          </p:cNvPr>
          <p:cNvCxnSpPr/>
          <p:nvPr/>
        </p:nvCxnSpPr>
        <p:spPr>
          <a:xfrm>
            <a:off x="4245980" y="5002407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7691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4" grpId="0"/>
      <p:bldP spid="5" grpId="0" animBg="1"/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0" name="Google Shape;1960;p22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547" y="428800"/>
            <a:ext cx="4225040" cy="3128421"/>
          </a:xfrm>
          <a:prstGeom prst="ellipse">
            <a:avLst/>
          </a:prstGeom>
          <a:noFill/>
          <a:ln w="2286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963" name="Google Shape;1963;p22"/>
          <p:cNvSpPr txBox="1">
            <a:spLocks noGrp="1"/>
          </p:cNvSpPr>
          <p:nvPr>
            <p:ph type="sldNum" idx="12"/>
          </p:nvPr>
        </p:nvSpPr>
        <p:spPr>
          <a:xfrm>
            <a:off x="11665333" y="0"/>
            <a:ext cx="526400" cy="428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r"/>
            <a:fld id="{00000000-1234-1234-1234-123412341234}" type="slidenum">
              <a:rPr lang="en"/>
              <a:pPr algn="r"/>
              <a:t>11</a:t>
            </a:fld>
            <a:endParaRPr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409779-0B8B-49A3-AD74-AB0AE8510C12}"/>
              </a:ext>
            </a:extLst>
          </p:cNvPr>
          <p:cNvSpPr txBox="1"/>
          <p:nvPr/>
        </p:nvSpPr>
        <p:spPr>
          <a:xfrm>
            <a:off x="3581467" y="3557221"/>
            <a:ext cx="5029200" cy="226215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6000" dirty="0" smtClean="0">
                <a:solidFill>
                  <a:schemeClr val="accent1"/>
                </a:solidFill>
                <a:latin typeface="Freestyle Script" panose="030804020302050B0404" pitchFamily="66" charset="0"/>
                <a:cs typeface="Segoe UI Light" panose="020B0502040204020203" pitchFamily="34" charset="0"/>
              </a:rPr>
              <a:t>Too complicated? Let’s talk simply!</a:t>
            </a:r>
            <a:endParaRPr lang="en-US" sz="6000" dirty="0">
              <a:solidFill>
                <a:schemeClr val="accent1"/>
              </a:solidFill>
              <a:latin typeface="Freestyle Script" panose="030804020302050B0404" pitchFamily="66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0274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2977743" y="192757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51C0CEE4-85F1-403D-ACBB-E820248DB116}"/>
              </a:ext>
            </a:extLst>
          </p:cNvPr>
          <p:cNvSpPr/>
          <p:nvPr/>
        </p:nvSpPr>
        <p:spPr>
          <a:xfrm>
            <a:off x="8164508" y="826285"/>
            <a:ext cx="3931920" cy="28398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7C2910-7084-44D2-98EE-07380B763C50}"/>
              </a:ext>
            </a:extLst>
          </p:cNvPr>
          <p:cNvSpPr/>
          <p:nvPr/>
        </p:nvSpPr>
        <p:spPr>
          <a:xfrm>
            <a:off x="3602358" y="895109"/>
            <a:ext cx="4015664" cy="435292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In OOP, we’re trying to break to code to sth called </a:t>
            </a:r>
            <a:r>
              <a:rPr lang="en-US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“Objects”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.</a:t>
            </a:r>
          </a:p>
          <a:p>
            <a:pPr algn="just">
              <a:lnSpc>
                <a:spcPct val="109000"/>
              </a:lnSpc>
            </a:pPr>
            <a:endParaRPr lang="en-US" b="1" u="sng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An </a:t>
            </a:r>
            <a:r>
              <a:rPr lang="en-US" sz="2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object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, is sth that can have two elements, </a:t>
            </a:r>
            <a:r>
              <a:rPr lang="en-US" sz="20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data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 and </a:t>
            </a:r>
            <a:r>
              <a:rPr lang="en-US" sz="20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code</a:t>
            </a: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.</a:t>
            </a: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</a:t>
            </a:r>
            <a:r>
              <a:rPr lang="en-US" sz="20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Data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 is an element of the program containing data and values.</a:t>
            </a:r>
          </a:p>
          <a:p>
            <a:pPr algn="just">
              <a:lnSpc>
                <a:spcPct val="109000"/>
              </a:lnSpc>
            </a:pP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- </a:t>
            </a:r>
            <a:r>
              <a:rPr lang="en-US" sz="20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Code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 is an element like for loops or conditional statements, it changes data and controls it or determines the flow of the program.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90330" y="756190"/>
            <a:ext cx="3616996" cy="10341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4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2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. 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An Introduction to OOP</a:t>
            </a:r>
            <a:endParaRPr lang="en-US" sz="34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8975182" y="692978"/>
            <a:ext cx="1877961" cy="101317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u="sng" dirty="0" smtClean="0"/>
              <a:t>Object</a:t>
            </a:r>
            <a:endParaRPr lang="en-US" b="1" u="sng" dirty="0"/>
          </a:p>
        </p:txBody>
      </p:sp>
      <p:sp>
        <p:nvSpPr>
          <p:cNvPr id="11" name="Rounded Rectangle 10"/>
          <p:cNvSpPr/>
          <p:nvPr/>
        </p:nvSpPr>
        <p:spPr>
          <a:xfrm>
            <a:off x="10097734" y="2157984"/>
            <a:ext cx="1877961" cy="101317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u="sng" dirty="0" smtClean="0"/>
              <a:t>Code</a:t>
            </a:r>
            <a:endParaRPr lang="en-US" i="1" u="sng" dirty="0"/>
          </a:p>
        </p:txBody>
      </p:sp>
      <p:sp>
        <p:nvSpPr>
          <p:cNvPr id="12" name="Rounded Rectangle 11"/>
          <p:cNvSpPr/>
          <p:nvPr/>
        </p:nvSpPr>
        <p:spPr>
          <a:xfrm>
            <a:off x="7948203" y="2148152"/>
            <a:ext cx="1877961" cy="101317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u="sng" dirty="0" smtClean="0"/>
              <a:t>Data</a:t>
            </a:r>
            <a:endParaRPr lang="en-US" i="1" u="sng" dirty="0"/>
          </a:p>
        </p:txBody>
      </p:sp>
      <p:cxnSp>
        <p:nvCxnSpPr>
          <p:cNvPr id="14" name="Curved Connector 13"/>
          <p:cNvCxnSpPr>
            <a:stCxn id="9" idx="2"/>
            <a:endCxn id="11" idx="0"/>
          </p:cNvCxnSpPr>
          <p:nvPr/>
        </p:nvCxnSpPr>
        <p:spPr>
          <a:xfrm rot="16200000" flipH="1">
            <a:off x="10249526" y="1370794"/>
            <a:ext cx="451827" cy="112255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>
            <a:stCxn id="9" idx="2"/>
            <a:endCxn id="12" idx="0"/>
          </p:cNvCxnSpPr>
          <p:nvPr/>
        </p:nvCxnSpPr>
        <p:spPr>
          <a:xfrm rot="5400000">
            <a:off x="9179677" y="1413665"/>
            <a:ext cx="441995" cy="1026979"/>
          </a:xfrm>
          <a:prstGeom prst="curvedConnector3">
            <a:avLst>
              <a:gd name="adj1" fmla="val 2998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>
          <a:xfrm>
            <a:off x="7850263" y="3701648"/>
            <a:ext cx="2073839" cy="1765090"/>
          </a:xfrm>
          <a:prstGeom prst="round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i="1" u="sng" dirty="0"/>
          </a:p>
        </p:txBody>
      </p:sp>
      <p:sp>
        <p:nvSpPr>
          <p:cNvPr id="28" name="Rounded Rectangle 27"/>
          <p:cNvSpPr/>
          <p:nvPr/>
        </p:nvSpPr>
        <p:spPr>
          <a:xfrm>
            <a:off x="9999794" y="3701647"/>
            <a:ext cx="2073839" cy="1765091"/>
          </a:xfrm>
          <a:prstGeom prst="round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i="1" u="sng" dirty="0"/>
          </a:p>
        </p:txBody>
      </p:sp>
      <p:cxnSp>
        <p:nvCxnSpPr>
          <p:cNvPr id="31" name="Straight Arrow Connector 30"/>
          <p:cNvCxnSpPr>
            <a:stCxn id="12" idx="2"/>
            <a:endCxn id="27" idx="0"/>
          </p:cNvCxnSpPr>
          <p:nvPr/>
        </p:nvCxnSpPr>
        <p:spPr>
          <a:xfrm flipH="1">
            <a:off x="8887183" y="3161331"/>
            <a:ext cx="1" cy="5403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1" idx="2"/>
            <a:endCxn id="28" idx="0"/>
          </p:cNvCxnSpPr>
          <p:nvPr/>
        </p:nvCxnSpPr>
        <p:spPr>
          <a:xfrm flipH="1">
            <a:off x="11036714" y="3171163"/>
            <a:ext cx="1" cy="5304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7850262" y="5556880"/>
            <a:ext cx="2063900" cy="83767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dirty="0" smtClean="0">
                <a:latin typeface="+mj-lt"/>
                <a:cs typeface="Segoe UI Light" panose="020B0502040204020203" pitchFamily="34" charset="0"/>
              </a:rPr>
              <a:t>A simple example of </a:t>
            </a:r>
            <a:r>
              <a:rPr lang="en-US" i="1" u="sng" dirty="0" smtClean="0">
                <a:latin typeface="+mj-lt"/>
                <a:cs typeface="Segoe UI Light" panose="020B0502040204020203" pitchFamily="34" charset="0"/>
              </a:rPr>
              <a:t>code</a:t>
            </a:r>
            <a:r>
              <a:rPr lang="en-US" dirty="0" smtClean="0">
                <a:latin typeface="+mj-lt"/>
                <a:cs typeface="Segoe UI Light" panose="020B0502040204020203" pitchFamily="34" charset="0"/>
              </a:rPr>
              <a:t>.</a:t>
            </a:r>
            <a:endParaRPr lang="en-US" dirty="0"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999794" y="5542543"/>
            <a:ext cx="2063900" cy="837676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dirty="0" smtClean="0">
                <a:latin typeface="+mj-lt"/>
                <a:cs typeface="Segoe UI Light" panose="020B0502040204020203" pitchFamily="34" charset="0"/>
              </a:rPr>
              <a:t>A simple example of </a:t>
            </a:r>
            <a:r>
              <a:rPr lang="en-US" i="1" u="sng" dirty="0" smtClean="0">
                <a:latin typeface="+mj-lt"/>
                <a:cs typeface="Segoe UI Light" panose="020B0502040204020203" pitchFamily="34" charset="0"/>
              </a:rPr>
              <a:t>data</a:t>
            </a:r>
            <a:r>
              <a:rPr lang="en-US" dirty="0" smtClean="0">
                <a:latin typeface="+mj-lt"/>
                <a:cs typeface="Segoe UI Light" panose="020B0502040204020203" pitchFamily="34" charset="0"/>
              </a:rPr>
              <a:t>.</a:t>
            </a:r>
            <a:endParaRPr lang="en-US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7033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/>
      <p:bldP spid="9" grpId="0" animBg="1"/>
      <p:bldP spid="11" grpId="0" animBg="1"/>
      <p:bldP spid="12" grpId="0" animBg="1"/>
      <p:bldP spid="27" grpId="0" animBg="1"/>
      <p:bldP spid="28" grpId="0" animBg="1"/>
      <p:bldP spid="40" grpId="0" animBg="1"/>
      <p:bldP spid="4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068509E-6013-42B6-86E3-C1E44FD82B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5B2BE1C-5607-45E7-9C79-DECE2983EA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5ADF4BF-09BD-40E5-AB73-279234E1FCA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85A7688-F0E1-4DAB-9CC9-F924224940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DFB0F8-40AA-4918-BC85-F61BF484DA1B}"/>
              </a:ext>
            </a:extLst>
          </p:cNvPr>
          <p:cNvSpPr/>
          <p:nvPr/>
        </p:nvSpPr>
        <p:spPr>
          <a:xfrm>
            <a:off x="3581400" y="2300692"/>
            <a:ext cx="5029200" cy="2256616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>
            <a:outerShdw blurRad="635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409779-0B8B-49A3-AD74-AB0AE8510C12}"/>
              </a:ext>
            </a:extLst>
          </p:cNvPr>
          <p:cNvSpPr txBox="1"/>
          <p:nvPr/>
        </p:nvSpPr>
        <p:spPr>
          <a:xfrm>
            <a:off x="3687098" y="2613803"/>
            <a:ext cx="4923502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3000" dirty="0" smtClean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But have we ever seen any </a:t>
            </a:r>
            <a:r>
              <a:rPr lang="en-US" sz="3000" b="1" u="sng" dirty="0" smtClean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objects</a:t>
            </a:r>
            <a:r>
              <a:rPr lang="en-US" sz="3000" dirty="0" smtClean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 in Python so far?</a:t>
            </a:r>
            <a:endParaRPr lang="en-US" sz="3000" dirty="0">
              <a:solidFill>
                <a:schemeClr val="accent1"/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0293E0-92C8-4DAB-8DFE-61FC20415BD2}"/>
              </a:ext>
            </a:extLst>
          </p:cNvPr>
          <p:cNvCxnSpPr/>
          <p:nvPr/>
        </p:nvCxnSpPr>
        <p:spPr>
          <a:xfrm>
            <a:off x="5890726" y="4110340"/>
            <a:ext cx="410547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A409779-0B8B-49A3-AD74-AB0AE8510C12}"/>
              </a:ext>
            </a:extLst>
          </p:cNvPr>
          <p:cNvSpPr txBox="1"/>
          <p:nvPr/>
        </p:nvSpPr>
        <p:spPr>
          <a:xfrm>
            <a:off x="6460024" y="3953470"/>
            <a:ext cx="5029200" cy="153888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4000" dirty="0" err="1" smtClean="0">
                <a:solidFill>
                  <a:schemeClr val="accent1"/>
                </a:solidFill>
                <a:latin typeface="Freestyle Script" panose="030804020302050B0404" pitchFamily="66" charset="0"/>
                <a:cs typeface="Segoe UI Light" panose="020B0502040204020203" pitchFamily="34" charset="0"/>
              </a:rPr>
              <a:t>Ofc</a:t>
            </a:r>
            <a:r>
              <a:rPr lang="en-US" sz="4000" dirty="0" smtClean="0">
                <a:solidFill>
                  <a:schemeClr val="accent1"/>
                </a:solidFill>
                <a:latin typeface="Freestyle Script" panose="030804020302050B0404" pitchFamily="66" charset="0"/>
                <a:cs typeface="Segoe UI Light" panose="020B0502040204020203" pitchFamily="34" charset="0"/>
              </a:rPr>
              <a:t> we have! Let’s see an example of objects we have seen so far</a:t>
            </a:r>
            <a:endParaRPr lang="en-US" sz="4000" dirty="0">
              <a:solidFill>
                <a:schemeClr val="accent1"/>
              </a:solidFill>
              <a:latin typeface="Freestyle Script" panose="030804020302050B0404" pitchFamily="66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834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5"/>
          <a:stretch/>
        </p:blipFill>
        <p:spPr>
          <a:xfrm>
            <a:off x="4029741" y="1694626"/>
            <a:ext cx="5881175" cy="3961647"/>
          </a:xfr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1D1C6A8-5272-4996-99AA-406A1B265A5A}"/>
              </a:ext>
            </a:extLst>
          </p:cNvPr>
          <p:cNvSpPr/>
          <p:nvPr/>
        </p:nvSpPr>
        <p:spPr>
          <a:xfrm>
            <a:off x="4029741" y="792161"/>
            <a:ext cx="8014776" cy="9981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String, Sets, Lists and Tuples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 all objects</a:t>
            </a:r>
          </a:p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Let’s take a look at the example below…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742950" lvl="1" indent="-285750" algn="just">
              <a:lnSpc>
                <a:spcPct val="109000"/>
              </a:lnSpc>
              <a:buFontTx/>
              <a:buChar char="-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2977743" y="192757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90330" y="756190"/>
            <a:ext cx="3616996" cy="10341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4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2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. 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An Introduction to OOP</a:t>
            </a:r>
            <a:endParaRPr lang="en-US" sz="34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9461342" y="2013015"/>
            <a:ext cx="1218373" cy="7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>
          <a:xfrm>
            <a:off x="10679715" y="1693004"/>
            <a:ext cx="1420562" cy="64002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u="sng" dirty="0" smtClean="0"/>
              <a:t>Data</a:t>
            </a:r>
            <a:endParaRPr lang="en-US" i="1" u="sng" dirty="0"/>
          </a:p>
        </p:txBody>
      </p:sp>
      <p:sp>
        <p:nvSpPr>
          <p:cNvPr id="25" name="Left Brace 24"/>
          <p:cNvSpPr/>
          <p:nvPr/>
        </p:nvSpPr>
        <p:spPr>
          <a:xfrm rot="10800000">
            <a:off x="8963247" y="2158409"/>
            <a:ext cx="659218" cy="2466754"/>
          </a:xfrm>
          <a:prstGeom prst="leftBrace">
            <a:avLst>
              <a:gd name="adj1" fmla="val 79301"/>
              <a:gd name="adj2" fmla="val 4871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Arrow Connector 25"/>
          <p:cNvCxnSpPr>
            <a:endCxn id="28" idx="1"/>
          </p:cNvCxnSpPr>
          <p:nvPr/>
        </p:nvCxnSpPr>
        <p:spPr>
          <a:xfrm>
            <a:off x="9654364" y="3423685"/>
            <a:ext cx="1025351" cy="71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ounded Rectangle 27"/>
          <p:cNvSpPr/>
          <p:nvPr/>
        </p:nvSpPr>
        <p:spPr>
          <a:xfrm>
            <a:off x="10679715" y="3110845"/>
            <a:ext cx="1420562" cy="64002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u="sng" dirty="0" smtClean="0"/>
              <a:t>Code</a:t>
            </a:r>
            <a:endParaRPr lang="en-US" i="1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4029741" y="5721062"/>
            <a:ext cx="5881174" cy="79681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700" dirty="0" smtClean="0">
                <a:latin typeface="+mj-lt"/>
                <a:cs typeface="Segoe UI Light" panose="020B0502040204020203" pitchFamily="34" charset="0"/>
              </a:rPr>
              <a:t>In this example, we observed that we are capable of both adding </a:t>
            </a:r>
            <a:r>
              <a:rPr lang="en-US" sz="1700" i="1" u="sng" dirty="0" smtClean="0">
                <a:latin typeface="+mj-lt"/>
                <a:cs typeface="Segoe UI Light" panose="020B0502040204020203" pitchFamily="34" charset="0"/>
              </a:rPr>
              <a:t>data</a:t>
            </a:r>
            <a:r>
              <a:rPr lang="en-US" sz="1700" dirty="0" smtClean="0">
                <a:latin typeface="+mj-lt"/>
                <a:cs typeface="Segoe UI Light" panose="020B0502040204020203" pitchFamily="34" charset="0"/>
              </a:rPr>
              <a:t> and modifying it by </a:t>
            </a:r>
            <a:r>
              <a:rPr lang="en-US" sz="1700" i="1" u="sng" dirty="0" smtClean="0">
                <a:latin typeface="+mj-lt"/>
                <a:cs typeface="Segoe UI Light" panose="020B0502040204020203" pitchFamily="34" charset="0"/>
              </a:rPr>
              <a:t>code</a:t>
            </a:r>
            <a:r>
              <a:rPr lang="en-US" sz="1700" dirty="0" smtClean="0">
                <a:latin typeface="+mj-lt"/>
                <a:cs typeface="Segoe UI Light" panose="020B0502040204020203" pitchFamily="34" charset="0"/>
              </a:rPr>
              <a:t>, </a:t>
            </a:r>
            <a:r>
              <a:rPr lang="en-US" sz="1700" b="1" dirty="0" smtClean="0">
                <a:latin typeface="+mj-lt"/>
                <a:cs typeface="Segoe UI Light" panose="020B0502040204020203" pitchFamily="34" charset="0"/>
              </a:rPr>
              <a:t>Because lists are objects.</a:t>
            </a:r>
            <a:endParaRPr lang="en-US" sz="1700" b="1" i="1" u="sng" dirty="0">
              <a:latin typeface="+mj-lt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418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24" grpId="0" animBg="1"/>
      <p:bldP spid="25" grpId="0" animBg="1"/>
      <p:bldP spid="28" grpId="0" animBg="1"/>
      <p:bldP spid="3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D578C73-F784-47B9-B7E2-D0C6FE1768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12192000" cy="6858000"/>
          </a:xfrm>
        </p:spPr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6DD24F-3B58-4865-BDCF-CD2F2795697D}"/>
              </a:ext>
            </a:extLst>
          </p:cNvPr>
          <p:cNvSpPr txBox="1"/>
          <p:nvPr/>
        </p:nvSpPr>
        <p:spPr>
          <a:xfrm>
            <a:off x="3186408" y="2004090"/>
            <a:ext cx="5820525" cy="3268587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square" lIns="0" rtlCol="0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2400" spc="600">
                <a:solidFill>
                  <a:schemeClr val="bg1"/>
                </a:solidFill>
                <a:latin typeface="Ubuntu Light" panose="020B030403060203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 OOP, </a:t>
            </a:r>
          </a:p>
          <a:p>
            <a:endParaRPr lang="en-US" sz="2000" spc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is </a:t>
            </a:r>
            <a:r>
              <a:rPr lang="en-US" sz="2000" i="1" u="sng" spc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de</a:t>
            </a:r>
            <a:r>
              <a:rPr lang="en-US" sz="2000" spc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we have talked about is </a:t>
            </a: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lled </a:t>
            </a:r>
            <a:r>
              <a:rPr lang="en-US" b="1" u="sng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“Method” </a:t>
            </a:r>
          </a:p>
          <a:p>
            <a:endParaRPr lang="en-US" b="1" u="sng" spc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d this </a:t>
            </a:r>
            <a:r>
              <a:rPr lang="en-US" sz="2000" i="1" u="sng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a</a:t>
            </a: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2000" spc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 have talked about is called </a:t>
            </a:r>
            <a:r>
              <a:rPr lang="en-US" b="1" u="sng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“Field” or “Attribute” </a:t>
            </a:r>
            <a:endParaRPr lang="en-US" b="1" u="sng" spc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sz="2000" b="1" u="sng" spc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297521" y="3776407"/>
            <a:ext cx="359973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An Important Tip!</a:t>
            </a:r>
            <a:endParaRPr lang="en-US" sz="4700" b="1" dirty="0">
              <a:solidFill>
                <a:schemeClr val="accent1"/>
              </a:solidFill>
              <a:latin typeface="Freestyle Script" panose="030804020302050B0404" pitchFamily="66" charset="0"/>
            </a:endParaRPr>
          </a:p>
          <a:p>
            <a:pPr algn="ctr"/>
            <a:endParaRPr lang="en-US" sz="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7" name="Idea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78860" y="1830756"/>
            <a:ext cx="1361903" cy="1505518"/>
            <a:chOff x="2087986" y="1812758"/>
            <a:chExt cx="316995" cy="350423"/>
          </a:xfrm>
        </p:grpSpPr>
        <p:sp>
          <p:nvSpPr>
            <p:cNvPr id="8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0" name="Elbow Connector 19"/>
          <p:cNvCxnSpPr/>
          <p:nvPr/>
        </p:nvCxnSpPr>
        <p:spPr>
          <a:xfrm>
            <a:off x="6921795" y="4752753"/>
            <a:ext cx="2222205" cy="831860"/>
          </a:xfrm>
          <a:prstGeom prst="bentConnector3">
            <a:avLst>
              <a:gd name="adj1" fmla="val 167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8814391" y="5194004"/>
            <a:ext cx="3221852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Used in Python</a:t>
            </a:r>
            <a:endParaRPr lang="en-US" sz="4700" b="1" dirty="0">
              <a:solidFill>
                <a:schemeClr val="accent1"/>
              </a:solidFill>
              <a:latin typeface="Freestyle Script" panose="030804020302050B0404" pitchFamily="66" charset="0"/>
            </a:endParaRPr>
          </a:p>
          <a:p>
            <a:pPr algn="ctr"/>
            <a:endParaRPr lang="en-US" sz="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6169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D578C73-F784-47B9-B7E2-D0C6FE1768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12192000" cy="6858000"/>
          </a:xfrm>
        </p:spPr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6DD24F-3B58-4865-BDCF-CD2F2795697D}"/>
              </a:ext>
            </a:extLst>
          </p:cNvPr>
          <p:cNvSpPr txBox="1"/>
          <p:nvPr/>
        </p:nvSpPr>
        <p:spPr>
          <a:xfrm>
            <a:off x="3186408" y="1927890"/>
            <a:ext cx="5820525" cy="2808589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square" lIns="0" rtlCol="0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2400" spc="600">
                <a:solidFill>
                  <a:schemeClr val="bg1"/>
                </a:solidFill>
                <a:latin typeface="Ubuntu Light" panose="020B0304030602030204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 OOP</a:t>
            </a: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endParaRPr lang="en-US" sz="2000" b="1" u="sng" spc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 learn not only how to use built-in objects in Python and modify them</a:t>
            </a:r>
          </a:p>
          <a:p>
            <a:pPr>
              <a:lnSpc>
                <a:spcPct val="150000"/>
              </a:lnSpc>
            </a:pPr>
            <a:r>
              <a:rPr lang="en-US" sz="2000" spc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t also</a:t>
            </a:r>
          </a:p>
          <a:p>
            <a:pPr>
              <a:lnSpc>
                <a:spcPct val="150000"/>
              </a:lnSpc>
            </a:pPr>
            <a:r>
              <a:rPr lang="en-US" sz="20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 learn how to make our own brand new objects with different attributes and methods…</a:t>
            </a:r>
            <a:endParaRPr lang="en-US" sz="2000" spc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4628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2977743" y="192757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A7C2910-7084-44D2-98EE-07380B763C50}"/>
              </a:ext>
            </a:extLst>
          </p:cNvPr>
          <p:cNvSpPr/>
          <p:nvPr/>
        </p:nvSpPr>
        <p:spPr>
          <a:xfrm>
            <a:off x="3602358" y="895109"/>
            <a:ext cx="8206184" cy="405098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There’s still this important question left… after all, Why OOP?</a:t>
            </a:r>
          </a:p>
          <a:p>
            <a:pPr algn="just">
              <a:lnSpc>
                <a:spcPct val="109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Theoretically speaking 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 all programs can be made without any objects</a:t>
            </a: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But this is just theoretical  in practice and most specially in big projects</a:t>
            </a:r>
          </a:p>
          <a:p>
            <a:pPr marL="800100" lvl="1" indent="-342900" algn="just">
              <a:lnSpc>
                <a:spcPct val="109000"/>
              </a:lnSpc>
              <a:buBlip>
                <a:blip r:embed="rId3"/>
              </a:buBlip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We should have very meaningful structures otherwise…</a:t>
            </a:r>
          </a:p>
          <a:p>
            <a:pPr marL="800100" lvl="1" indent="-342900" algn="just">
              <a:lnSpc>
                <a:spcPct val="109000"/>
              </a:lnSpc>
              <a:buBlip>
                <a:blip r:embed="rId3"/>
              </a:buBlip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Without OOP, it’s almost impossible to bundle different attributes and methods.</a:t>
            </a:r>
          </a:p>
          <a:p>
            <a:pPr marL="800100" lvl="1" indent="-342900" algn="just">
              <a:lnSpc>
                <a:spcPct val="109000"/>
              </a:lnSpc>
              <a:buBlip>
                <a:blip r:embed="rId3"/>
              </a:buBlip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OOP allows us to better model real-life applications to 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code and the code makes much more sense and it’s easier to debug and develop.</a:t>
            </a:r>
          </a:p>
          <a:p>
            <a:pPr marL="800100" lvl="1" indent="-342900" algn="just">
              <a:lnSpc>
                <a:spcPct val="109000"/>
              </a:lnSpc>
              <a:buBlip>
                <a:blip r:embed="rId3"/>
              </a:buBlip>
            </a:pPr>
            <a:endPara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90330" y="756190"/>
            <a:ext cx="3616996" cy="10341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4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2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. </a:t>
            </a:r>
            <a:r>
              <a:rPr lang="en-US" sz="3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An Introduction to OOP</a:t>
            </a:r>
            <a:endParaRPr lang="en-US" sz="34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838632" y="4484425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36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But wait to see it on your own… Let’s get a little more practical…</a:t>
            </a:r>
            <a:endParaRPr lang="en-US" sz="4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2698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1E98DC96-09BF-42E4-8884-2A67AA63383C}"/>
              </a:ext>
            </a:extLst>
          </p:cNvPr>
          <p:cNvSpPr/>
          <p:nvPr/>
        </p:nvSpPr>
        <p:spPr>
          <a:xfrm>
            <a:off x="647700" y="4210050"/>
            <a:ext cx="5334000" cy="1943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5C00A8C-33E4-417C-9297-90D8B06A9BC3}"/>
              </a:ext>
            </a:extLst>
          </p:cNvPr>
          <p:cNvGrpSpPr/>
          <p:nvPr/>
        </p:nvGrpSpPr>
        <p:grpSpPr>
          <a:xfrm>
            <a:off x="2856630" y="4500736"/>
            <a:ext cx="2891028" cy="987524"/>
            <a:chOff x="2823972" y="2240204"/>
            <a:chExt cx="2891028" cy="98752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2E5F321-A314-4451-BBD3-52DDF82293D6}"/>
                </a:ext>
              </a:extLst>
            </p:cNvPr>
            <p:cNvSpPr/>
            <p:nvPr/>
          </p:nvSpPr>
          <p:spPr>
            <a:xfrm>
              <a:off x="2823972" y="2531575"/>
              <a:ext cx="2891028" cy="696153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What’s a class and what’s the difference between a class and an instance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First steps to make an object in Python.</a:t>
              </a:r>
              <a:endParaRPr lang="en-US" sz="1200" dirty="0">
                <a:solidFill>
                  <a:schemeClr val="bg1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9E2C8A7-5041-4C5D-A788-A8992B32574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3. Class vs Instance</a:t>
              </a:r>
              <a:endParaRPr lang="en-US" sz="1400" dirty="0">
                <a:solidFill>
                  <a:schemeClr val="bg1"/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E847F7B4-EC83-41D2-B4C3-923A8E831135}"/>
              </a:ext>
            </a:extLst>
          </p:cNvPr>
          <p:cNvSpPr/>
          <p:nvPr/>
        </p:nvSpPr>
        <p:spPr>
          <a:xfrm>
            <a:off x="6477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D969B51-6ABD-4BA1-88B8-CFD988F7B933}"/>
              </a:ext>
            </a:extLst>
          </p:cNvPr>
          <p:cNvGrpSpPr/>
          <p:nvPr/>
        </p:nvGrpSpPr>
        <p:grpSpPr>
          <a:xfrm>
            <a:off x="2856629" y="2350807"/>
            <a:ext cx="3010771" cy="855074"/>
            <a:chOff x="2823971" y="2240204"/>
            <a:chExt cx="3010771" cy="855074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F7F686-101E-40EF-9B18-F0EA98976FB3}"/>
                </a:ext>
              </a:extLst>
            </p:cNvPr>
            <p:cNvSpPr/>
            <p:nvPr/>
          </p:nvSpPr>
          <p:spPr>
            <a:xfrm>
              <a:off x="2823972" y="2600399"/>
              <a:ext cx="3010770" cy="4948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et’s try sth new in our programming and see how it goes…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C9BE9FC-99E8-4CA2-ABB4-35A7BE969512}"/>
                </a:ext>
              </a:extLst>
            </p:cNvPr>
            <p:cNvSpPr/>
            <p:nvPr/>
          </p:nvSpPr>
          <p:spPr>
            <a:xfrm>
              <a:off x="2823971" y="2240204"/>
              <a:ext cx="251984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1. An Example to Begin With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52D16AE-6BD5-40AA-B7CC-35EB7A2BE401}"/>
              </a:ext>
            </a:extLst>
          </p:cNvPr>
          <p:cNvSpPr/>
          <p:nvPr/>
        </p:nvSpPr>
        <p:spPr>
          <a:xfrm>
            <a:off x="62103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57ACBA-EEA7-467B-9A31-E696C9C420C7}"/>
              </a:ext>
            </a:extLst>
          </p:cNvPr>
          <p:cNvGrpSpPr/>
          <p:nvPr/>
        </p:nvGrpSpPr>
        <p:grpSpPr>
          <a:xfrm>
            <a:off x="8419230" y="4500736"/>
            <a:ext cx="2891028" cy="1380452"/>
            <a:chOff x="2823972" y="2240204"/>
            <a:chExt cx="2891028" cy="1380452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A9464E-BF84-49DE-BA8A-3B126CFF9A0F}"/>
                </a:ext>
              </a:extLst>
            </p:cNvPr>
            <p:cNvSpPr/>
            <p:nvPr/>
          </p:nvSpPr>
          <p:spPr>
            <a:xfrm>
              <a:off x="2823972" y="2531575"/>
              <a:ext cx="2891028" cy="108908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consectetu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dipiscing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li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acini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torto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dapib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usc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lesuad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e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null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e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ibero semper porta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Phasell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dui libero.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94EC3D-6187-4F74-9450-19D287C7FB8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4. OOP in Python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EC2C61D7-9229-4832-854B-15930DD3115B}"/>
              </a:ext>
            </a:extLst>
          </p:cNvPr>
          <p:cNvSpPr/>
          <p:nvPr/>
        </p:nvSpPr>
        <p:spPr>
          <a:xfrm>
            <a:off x="62103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3EF24C9-6F7D-40A6-B050-FE4AAE786D86}"/>
              </a:ext>
            </a:extLst>
          </p:cNvPr>
          <p:cNvGrpSpPr/>
          <p:nvPr/>
        </p:nvGrpSpPr>
        <p:grpSpPr>
          <a:xfrm>
            <a:off x="8288594" y="2350807"/>
            <a:ext cx="3021664" cy="1188796"/>
            <a:chOff x="2823972" y="2240204"/>
            <a:chExt cx="2891028" cy="1188796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725081-2F46-4427-A2A8-B12662851C92}"/>
                </a:ext>
              </a:extLst>
            </p:cNvPr>
            <p:cNvSpPr/>
            <p:nvPr/>
          </p:nvSpPr>
          <p:spPr>
            <a:xfrm>
              <a:off x="2823972" y="2531575"/>
              <a:ext cx="2891028" cy="89742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at does OOP mean?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ome simple explanations and examples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 Python object</a:t>
              </a: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y OOP?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8B4D64F-188A-465C-9434-60C6E5EEBE48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2. 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An Introduction to OOP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4F30863-858F-492E-9C0B-548CD3A84DA0}"/>
              </a:ext>
            </a:extLst>
          </p:cNvPr>
          <p:cNvSpPr txBox="1"/>
          <p:nvPr/>
        </p:nvSpPr>
        <p:spPr>
          <a:xfrm>
            <a:off x="4010026" y="704850"/>
            <a:ext cx="4171949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Contents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BF0719-D1CC-44D6-BA45-AEFCCE7D134F}"/>
              </a:ext>
            </a:extLst>
          </p:cNvPr>
          <p:cNvCxnSpPr/>
          <p:nvPr/>
        </p:nvCxnSpPr>
        <p:spPr>
          <a:xfrm>
            <a:off x="5867400" y="137212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741A4E7-4860-4159-910A-B26A54FA6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66E348-CA7B-4FFA-8DD0-421580685F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8F97CA1-1BDE-4FF6-9841-34DECBD22C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8ACAFB9-B712-48B6-9D2E-C396431D48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25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69292" y="4469605"/>
            <a:ext cx="1504488" cy="1423990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26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960133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3049661" y="1126206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A7C2910-7084-44D2-98EE-07380B763C50}"/>
              </a:ext>
            </a:extLst>
          </p:cNvPr>
          <p:cNvSpPr/>
          <p:nvPr/>
        </p:nvSpPr>
        <p:spPr>
          <a:xfrm>
            <a:off x="3735920" y="658807"/>
            <a:ext cx="6671799" cy="370107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What is a Class?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Classes are used to create user-defined data structures. Classes have special functions called </a:t>
            </a:r>
            <a:r>
              <a:rPr lang="en-US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“methods”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.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Methods define behaviors or actions a class can perform (like .append() in lists).</a:t>
            </a:r>
          </a:p>
          <a:p>
            <a:pPr lvl="1" algn="just">
              <a:lnSpc>
                <a:spcPct val="109000"/>
              </a:lnSpc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What is an instance?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Building a class  Building the structure of an object.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The class a blueprint.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An “</a:t>
            </a:r>
            <a:r>
              <a:rPr lang="en-US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instance”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  an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object built from a class that contains real data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.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415719" y="583852"/>
            <a:ext cx="4106769" cy="5078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3. Class vs Instance</a:t>
            </a:r>
            <a:endParaRPr lang="en-US" sz="30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637665" y="4394408"/>
            <a:ext cx="74823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 smtClean="0">
                <a:solidFill>
                  <a:schemeClr val="accent1"/>
                </a:solidFill>
                <a:latin typeface="Freestyle Script" panose="030804020302050B0404" pitchFamily="66" charset="0"/>
              </a:rPr>
              <a:t>Let’s see an example to better understand this difference</a:t>
            </a:r>
            <a:endParaRPr lang="en-US" sz="4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1123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80F20F3-5E5D-402C-BDF5-25559D45534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302B055-1E15-46A0-82C6-87586516FA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B155F6F-AFC3-42FA-B61D-C3C750513A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CC7029-6FEF-497C-B034-997A397002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5D85AA9E-8840-4AB7-BB51-08A6B98FF2BB}"/>
              </a:ext>
            </a:extLst>
          </p:cNvPr>
          <p:cNvSpPr/>
          <p:nvPr/>
        </p:nvSpPr>
        <p:spPr>
          <a:xfrm rot="13500000" flipV="1">
            <a:off x="9992247" y="3227210"/>
            <a:ext cx="388338" cy="38833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BBC0D84F-5F46-487E-9D18-F2B60510ED46}"/>
              </a:ext>
            </a:extLst>
          </p:cNvPr>
          <p:cNvSpPr/>
          <p:nvPr/>
        </p:nvSpPr>
        <p:spPr>
          <a:xfrm rot="8100000">
            <a:off x="7278003" y="3242450"/>
            <a:ext cx="388338" cy="38833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EEE176A4-A3BF-41C7-A20A-E7D7EF9246D5}"/>
              </a:ext>
            </a:extLst>
          </p:cNvPr>
          <p:cNvSpPr/>
          <p:nvPr/>
        </p:nvSpPr>
        <p:spPr>
          <a:xfrm rot="8100000">
            <a:off x="1848752" y="3242450"/>
            <a:ext cx="388338" cy="38833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A297AC0-F8E0-4441-AA16-4980B707E10F}"/>
              </a:ext>
            </a:extLst>
          </p:cNvPr>
          <p:cNvSpPr/>
          <p:nvPr/>
        </p:nvSpPr>
        <p:spPr>
          <a:xfrm rot="13500000" flipV="1">
            <a:off x="4563759" y="3227210"/>
            <a:ext cx="388338" cy="38833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DA4E0E2-341E-40E5-A0CE-EE12D1908447}"/>
              </a:ext>
            </a:extLst>
          </p:cNvPr>
          <p:cNvGrpSpPr/>
          <p:nvPr/>
        </p:nvGrpSpPr>
        <p:grpSpPr>
          <a:xfrm>
            <a:off x="6313582" y="3767123"/>
            <a:ext cx="2317179" cy="1654790"/>
            <a:chOff x="6313582" y="3738095"/>
            <a:chExt cx="2317179" cy="165479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C2D5086-907F-4EE6-B436-0EEFF7B7CEF8}"/>
                </a:ext>
              </a:extLst>
            </p:cNvPr>
            <p:cNvSpPr/>
            <p:nvPr/>
          </p:nvSpPr>
          <p:spPr>
            <a:xfrm>
              <a:off x="6357124" y="3738095"/>
              <a:ext cx="1132319" cy="998094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  <a:latin typeface="Ubuntu" panose="020B0504030602030204" pitchFamily="34" charset="0"/>
                  <a:cs typeface="Segoe UI Light" panose="020B0502040204020203" pitchFamily="34" charset="0"/>
                </a:rPr>
                <a:t>03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5D662DE-66D4-429F-B4BE-E0B9D0493675}"/>
                </a:ext>
              </a:extLst>
            </p:cNvPr>
            <p:cNvSpPr/>
            <p:nvPr/>
          </p:nvSpPr>
          <p:spPr>
            <a:xfrm>
              <a:off x="6313582" y="4907624"/>
              <a:ext cx="2317179" cy="48526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Operators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in Python such as logical or comparison operators.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5EAEEC0-FFB6-4EDD-A78F-AF5FD4C790CD}"/>
                </a:ext>
              </a:extLst>
            </p:cNvPr>
            <p:cNvSpPr/>
            <p:nvPr/>
          </p:nvSpPr>
          <p:spPr>
            <a:xfrm>
              <a:off x="6313582" y="4616253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Operators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3EE5C90-A6DF-4CCA-B002-7919D8C3D8C7}"/>
              </a:ext>
            </a:extLst>
          </p:cNvPr>
          <p:cNvGrpSpPr/>
          <p:nvPr/>
        </p:nvGrpSpPr>
        <p:grpSpPr>
          <a:xfrm>
            <a:off x="9027827" y="1023923"/>
            <a:ext cx="2317179" cy="1654790"/>
            <a:chOff x="9027826" y="994895"/>
            <a:chExt cx="2317179" cy="165479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C8BF46B-DEA2-4220-85BC-B41C41069C76}"/>
                </a:ext>
              </a:extLst>
            </p:cNvPr>
            <p:cNvSpPr/>
            <p:nvPr/>
          </p:nvSpPr>
          <p:spPr>
            <a:xfrm>
              <a:off x="9071368" y="994895"/>
              <a:ext cx="1132319" cy="998094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  <a:latin typeface="Ubuntu" panose="020B0504030602030204" pitchFamily="34" charset="0"/>
                  <a:cs typeface="Segoe UI Light" panose="020B0502040204020203" pitchFamily="34" charset="0"/>
                </a:rPr>
                <a:t>04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C37BBA4-CF79-489D-BE0D-5CDB23392851}"/>
                </a:ext>
              </a:extLst>
            </p:cNvPr>
            <p:cNvSpPr/>
            <p:nvPr/>
          </p:nvSpPr>
          <p:spPr>
            <a:xfrm>
              <a:off x="9027826" y="2164424"/>
              <a:ext cx="2317179" cy="48526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if elif else , for while. and the concept of </a:t>
              </a: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Iteration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7D1868B-A287-453E-8731-4485BDA531C4}"/>
                </a:ext>
              </a:extLst>
            </p:cNvPr>
            <p:cNvSpPr/>
            <p:nvPr/>
          </p:nvSpPr>
          <p:spPr>
            <a:xfrm>
              <a:off x="9027826" y="1873053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accent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Control Flow</a:t>
              </a:r>
              <a:endParaRPr lang="en-US" sz="1400" dirty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82DBDB1-12D1-4531-911D-14877CCC3EFA}"/>
              </a:ext>
            </a:extLst>
          </p:cNvPr>
          <p:cNvGrpSpPr/>
          <p:nvPr/>
        </p:nvGrpSpPr>
        <p:grpSpPr>
          <a:xfrm>
            <a:off x="885095" y="3767123"/>
            <a:ext cx="2438208" cy="1856064"/>
            <a:chOff x="885095" y="3767123"/>
            <a:chExt cx="2438208" cy="185606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E68BCFD-D3D2-47F2-8C2D-7CE885F1B7E8}"/>
                </a:ext>
              </a:extLst>
            </p:cNvPr>
            <p:cNvSpPr/>
            <p:nvPr/>
          </p:nvSpPr>
          <p:spPr>
            <a:xfrm>
              <a:off x="928637" y="3767123"/>
              <a:ext cx="1132319" cy="998094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  <a:latin typeface="Ubuntu" panose="020B0504030602030204" pitchFamily="34" charset="0"/>
                  <a:cs typeface="Segoe UI Light" panose="020B0502040204020203" pitchFamily="34" charset="0"/>
                </a:rPr>
                <a:t>0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94A20E9-AB50-4883-9227-57A9AC235DD9}"/>
                </a:ext>
              </a:extLst>
            </p:cNvPr>
            <p:cNvSpPr/>
            <p:nvPr/>
          </p:nvSpPr>
          <p:spPr>
            <a:xfrm>
              <a:off x="885095" y="4936652"/>
              <a:ext cx="2317179" cy="68653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What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programming languages are and Where Python stands among them.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2A0BA6D-F276-4980-B964-11629D125EBD}"/>
                </a:ext>
              </a:extLst>
            </p:cNvPr>
            <p:cNvSpPr/>
            <p:nvPr/>
          </p:nvSpPr>
          <p:spPr>
            <a:xfrm>
              <a:off x="885095" y="4626558"/>
              <a:ext cx="2438208" cy="327141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Introduction to Programming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BC53440-3ECA-4BF2-AF39-2ECDCE117848}"/>
              </a:ext>
            </a:extLst>
          </p:cNvPr>
          <p:cNvGrpSpPr/>
          <p:nvPr/>
        </p:nvGrpSpPr>
        <p:grpSpPr>
          <a:xfrm>
            <a:off x="3599339" y="1023923"/>
            <a:ext cx="2317179" cy="1654790"/>
            <a:chOff x="3599338" y="994895"/>
            <a:chExt cx="2317179" cy="165479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98BBBB3-2DCC-48E5-AA89-63E8AE28E46D}"/>
                </a:ext>
              </a:extLst>
            </p:cNvPr>
            <p:cNvSpPr/>
            <p:nvPr/>
          </p:nvSpPr>
          <p:spPr>
            <a:xfrm>
              <a:off x="3642880" y="994895"/>
              <a:ext cx="1132319" cy="998094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5400" b="1" dirty="0">
                  <a:solidFill>
                    <a:schemeClr val="bg1">
                      <a:lumMod val="85000"/>
                    </a:schemeClr>
                  </a:solidFill>
                  <a:latin typeface="Ubuntu" panose="020B0504030602030204" pitchFamily="34" charset="0"/>
                  <a:cs typeface="Segoe UI Light" panose="020B0502040204020203" pitchFamily="34" charset="0"/>
                </a:rPr>
                <a:t>02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4C892B-F082-49F6-81BF-42A281EC7310}"/>
                </a:ext>
              </a:extLst>
            </p:cNvPr>
            <p:cNvSpPr/>
            <p:nvPr/>
          </p:nvSpPr>
          <p:spPr>
            <a:xfrm>
              <a:off x="3599338" y="2164424"/>
              <a:ext cx="2317179" cy="48526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Basic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data structures in Python, int, string, list, dict and etc.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9990588-BA7D-4B10-912F-42995FB5EC00}"/>
                </a:ext>
              </a:extLst>
            </p:cNvPr>
            <p:cNvSpPr/>
            <p:nvPr/>
          </p:nvSpPr>
          <p:spPr>
            <a:xfrm>
              <a:off x="3599338" y="1873053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accent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Data Structures</a:t>
              </a:r>
              <a:endParaRPr lang="en-US" sz="1400" dirty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302894" y="7102"/>
            <a:ext cx="51418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</a:rPr>
              <a:t>So far we have seen…</a:t>
            </a:r>
          </a:p>
        </p:txBody>
      </p:sp>
    </p:spTree>
    <p:extLst>
      <p:ext uri="{BB962C8B-B14F-4D97-AF65-F5344CB8AC3E}">
        <p14:creationId xmlns:p14="http://schemas.microsoft.com/office/powerpoint/2010/main" val="35647356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7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1D1C6A8-5272-4996-99AA-406A1B265A5A}"/>
              </a:ext>
            </a:extLst>
          </p:cNvPr>
          <p:cNvSpPr/>
          <p:nvPr/>
        </p:nvSpPr>
        <p:spPr>
          <a:xfrm>
            <a:off x="3898266" y="583852"/>
            <a:ext cx="8053851" cy="30971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The original design (like a class)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 on the left.</a:t>
            </a: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Being unique.</a:t>
            </a: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Shows structural design.</a:t>
            </a:r>
          </a:p>
          <a:p>
            <a:pPr lvl="1" algn="just">
              <a:lnSpc>
                <a:spcPct val="109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The actual building (like an instance)  on the right.</a:t>
            </a: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Create multiple instances from a class.</a:t>
            </a: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  <a:sym typeface="Wingdings" panose="05000000000000000000" pitchFamily="2" charset="2"/>
              </a:rPr>
              <a:t>Instances are actual objects, instances from the same class are different from each other.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800100" lvl="1" indent="-342900" algn="just">
              <a:lnSpc>
                <a:spcPct val="109000"/>
              </a:lnSpc>
              <a:buFontTx/>
              <a:buChar char="-"/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  <a:sym typeface="Wingdings" panose="05000000000000000000" pitchFamily="2" charset="2"/>
            </a:endParaRPr>
          </a:p>
          <a:p>
            <a:pPr marL="342900" indent="-342900" algn="just">
              <a:lnSpc>
                <a:spcPct val="109000"/>
              </a:lnSpc>
              <a:buFontTx/>
              <a:buChar char="-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pic>
        <p:nvPicPr>
          <p:cNvPr id="9" name="Picture Placeholder 8"/>
          <p:cNvPicPr>
            <a:picLocks noGrp="1"/>
          </p:cNvPicPr>
          <p:nvPr>
            <p:ph type="pic" sz="quarter" idx="10"/>
          </p:nvPr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2" t="29963" r="11139" b="2070"/>
          <a:stretch/>
        </p:blipFill>
        <p:spPr bwMode="auto">
          <a:xfrm rot="16200000">
            <a:off x="2266499" y="1466547"/>
            <a:ext cx="3263534" cy="6715879"/>
          </a:xfrm>
          <a:prstGeom prst="rect">
            <a:avLst/>
          </a:prstGeom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Placeholder 9"/>
          <p:cNvPicPr>
            <a:picLocks noGrp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3" t="-93" r="253" b="71510"/>
          <a:stretch/>
        </p:blipFill>
        <p:spPr bwMode="auto">
          <a:xfrm>
            <a:off x="7530281" y="3192720"/>
            <a:ext cx="4421836" cy="3263534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3049661" y="1126206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415719" y="583852"/>
            <a:ext cx="4106769" cy="5078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3. Class vs Instance</a:t>
            </a:r>
            <a:endParaRPr lang="en-US" sz="30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170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1E98DC96-09BF-42E4-8884-2A67AA63383C}"/>
              </a:ext>
            </a:extLst>
          </p:cNvPr>
          <p:cNvSpPr/>
          <p:nvPr/>
        </p:nvSpPr>
        <p:spPr>
          <a:xfrm>
            <a:off x="6477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5C00A8C-33E4-417C-9297-90D8B06A9BC3}"/>
              </a:ext>
            </a:extLst>
          </p:cNvPr>
          <p:cNvGrpSpPr/>
          <p:nvPr/>
        </p:nvGrpSpPr>
        <p:grpSpPr>
          <a:xfrm>
            <a:off x="2856630" y="4500736"/>
            <a:ext cx="2891028" cy="987524"/>
            <a:chOff x="2823972" y="2240204"/>
            <a:chExt cx="2891028" cy="98752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2E5F321-A314-4451-BBD3-52DDF82293D6}"/>
                </a:ext>
              </a:extLst>
            </p:cNvPr>
            <p:cNvSpPr/>
            <p:nvPr/>
          </p:nvSpPr>
          <p:spPr>
            <a:xfrm>
              <a:off x="2823972" y="2531575"/>
              <a:ext cx="2891028" cy="696153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at’s a class and what’s the difference between a class and an instance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irst steps to make an object in Python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9E2C8A7-5041-4C5D-A788-A8992B32574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3. Class vs Instance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E847F7B4-EC83-41D2-B4C3-923A8E831135}"/>
              </a:ext>
            </a:extLst>
          </p:cNvPr>
          <p:cNvSpPr/>
          <p:nvPr/>
        </p:nvSpPr>
        <p:spPr>
          <a:xfrm>
            <a:off x="6477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D969B51-6ABD-4BA1-88B8-CFD988F7B933}"/>
              </a:ext>
            </a:extLst>
          </p:cNvPr>
          <p:cNvGrpSpPr/>
          <p:nvPr/>
        </p:nvGrpSpPr>
        <p:grpSpPr>
          <a:xfrm>
            <a:off x="2856629" y="2350807"/>
            <a:ext cx="3010771" cy="855074"/>
            <a:chOff x="2823971" y="2240204"/>
            <a:chExt cx="3010771" cy="855074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F7F686-101E-40EF-9B18-F0EA98976FB3}"/>
                </a:ext>
              </a:extLst>
            </p:cNvPr>
            <p:cNvSpPr/>
            <p:nvPr/>
          </p:nvSpPr>
          <p:spPr>
            <a:xfrm>
              <a:off x="2823972" y="2600399"/>
              <a:ext cx="3010770" cy="4948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et’s try sth new in our programming and see how it goes…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C9BE9FC-99E8-4CA2-ABB4-35A7BE969512}"/>
                </a:ext>
              </a:extLst>
            </p:cNvPr>
            <p:cNvSpPr/>
            <p:nvPr/>
          </p:nvSpPr>
          <p:spPr>
            <a:xfrm>
              <a:off x="2823971" y="2240204"/>
              <a:ext cx="251984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1. An Example to Begin With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52D16AE-6BD5-40AA-B7CC-35EB7A2BE401}"/>
              </a:ext>
            </a:extLst>
          </p:cNvPr>
          <p:cNvSpPr/>
          <p:nvPr/>
        </p:nvSpPr>
        <p:spPr>
          <a:xfrm>
            <a:off x="6210300" y="4210050"/>
            <a:ext cx="5334000" cy="1943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57ACBA-EEA7-467B-9A31-E696C9C420C7}"/>
              </a:ext>
            </a:extLst>
          </p:cNvPr>
          <p:cNvGrpSpPr/>
          <p:nvPr/>
        </p:nvGrpSpPr>
        <p:grpSpPr>
          <a:xfrm>
            <a:off x="8419230" y="4500736"/>
            <a:ext cx="2891028" cy="786250"/>
            <a:chOff x="2823972" y="2240204"/>
            <a:chExt cx="2891028" cy="78625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A9464E-BF84-49DE-BA8A-3B126CFF9A0F}"/>
                </a:ext>
              </a:extLst>
            </p:cNvPr>
            <p:cNvSpPr/>
            <p:nvPr/>
          </p:nvSpPr>
          <p:spPr>
            <a:xfrm>
              <a:off x="2823972" y="2531575"/>
              <a:ext cx="2891028" cy="4948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- Let’s get practical and see the code now and check out these concepts on Python.</a:t>
              </a:r>
              <a:endParaRPr lang="en-US" sz="1200" dirty="0">
                <a:solidFill>
                  <a:schemeClr val="bg1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94EC3D-6187-4F74-9450-19D287C7FB8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4. OOP in Python</a:t>
              </a:r>
              <a:endParaRPr lang="en-US" sz="1400" dirty="0">
                <a:solidFill>
                  <a:schemeClr val="bg1"/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EC2C61D7-9229-4832-854B-15930DD3115B}"/>
              </a:ext>
            </a:extLst>
          </p:cNvPr>
          <p:cNvSpPr/>
          <p:nvPr/>
        </p:nvSpPr>
        <p:spPr>
          <a:xfrm>
            <a:off x="62103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3EF24C9-6F7D-40A6-B050-FE4AAE786D86}"/>
              </a:ext>
            </a:extLst>
          </p:cNvPr>
          <p:cNvGrpSpPr/>
          <p:nvPr/>
        </p:nvGrpSpPr>
        <p:grpSpPr>
          <a:xfrm>
            <a:off x="8288594" y="2350807"/>
            <a:ext cx="3021664" cy="1188796"/>
            <a:chOff x="2823972" y="2240204"/>
            <a:chExt cx="2891028" cy="1188796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725081-2F46-4427-A2A8-B12662851C92}"/>
                </a:ext>
              </a:extLst>
            </p:cNvPr>
            <p:cNvSpPr/>
            <p:nvPr/>
          </p:nvSpPr>
          <p:spPr>
            <a:xfrm>
              <a:off x="2823972" y="2531575"/>
              <a:ext cx="2891028" cy="89742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at does OOP mean?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ome simple explanations and examples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 Python object</a:t>
              </a: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y OOP?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8B4D64F-188A-465C-9434-60C6E5EEBE48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2. 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An Introduction to OOP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4F30863-858F-492E-9C0B-548CD3A84DA0}"/>
              </a:ext>
            </a:extLst>
          </p:cNvPr>
          <p:cNvSpPr txBox="1"/>
          <p:nvPr/>
        </p:nvSpPr>
        <p:spPr>
          <a:xfrm>
            <a:off x="4010026" y="704850"/>
            <a:ext cx="4171949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Contents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BF0719-D1CC-44D6-BA45-AEFCCE7D134F}"/>
              </a:ext>
            </a:extLst>
          </p:cNvPr>
          <p:cNvCxnSpPr/>
          <p:nvPr/>
        </p:nvCxnSpPr>
        <p:spPr>
          <a:xfrm>
            <a:off x="5867400" y="137212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741A4E7-4860-4159-910A-B26A54FA6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66E348-CA7B-4FFA-8DD0-421580685F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8F97CA1-1BDE-4FF6-9841-34DECBD22C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8ACAFB9-B712-48B6-9D2E-C396431D48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25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653484" y="4428188"/>
            <a:ext cx="1504488" cy="1423990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26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307448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E068509E-6013-42B6-86E3-C1E44FD82B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5B2BE1C-5607-45E7-9C79-DECE2983EA1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5ADF4BF-09BD-40E5-AB73-279234E1FCA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85A7688-F0E1-4DAB-9CC9-F924224940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DFB0F8-40AA-4918-BC85-F61BF484DA1B}"/>
              </a:ext>
            </a:extLst>
          </p:cNvPr>
          <p:cNvSpPr/>
          <p:nvPr/>
        </p:nvSpPr>
        <p:spPr>
          <a:xfrm>
            <a:off x="3581400" y="2300692"/>
            <a:ext cx="5029200" cy="2256616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>
            <a:outerShdw blurRad="635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409779-0B8B-49A3-AD74-AB0AE8510C12}"/>
              </a:ext>
            </a:extLst>
          </p:cNvPr>
          <p:cNvSpPr txBox="1"/>
          <p:nvPr/>
        </p:nvSpPr>
        <p:spPr>
          <a:xfrm>
            <a:off x="3687098" y="2400645"/>
            <a:ext cx="4923502" cy="175432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3000" dirty="0" smtClean="0">
                <a:solidFill>
                  <a:schemeClr val="accent1"/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Let’s check out the code now and explore these concepts in Python…</a:t>
            </a:r>
            <a:endParaRPr lang="en-US" sz="3000" dirty="0">
              <a:solidFill>
                <a:schemeClr val="accent1"/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0293E0-92C8-4DAB-8DFE-61FC20415BD2}"/>
              </a:ext>
            </a:extLst>
          </p:cNvPr>
          <p:cNvCxnSpPr/>
          <p:nvPr/>
        </p:nvCxnSpPr>
        <p:spPr>
          <a:xfrm>
            <a:off x="5890726" y="4224640"/>
            <a:ext cx="410547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05440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D9EABD3-C841-4146-AEB1-B2048C6B7D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68EEE5F-0BEA-4C26-A3E1-C7FB8A9281D4}"/>
              </a:ext>
            </a:extLst>
          </p:cNvPr>
          <p:cNvSpPr/>
          <p:nvPr/>
        </p:nvSpPr>
        <p:spPr>
          <a:xfrm>
            <a:off x="685799" y="1245393"/>
            <a:ext cx="4500797" cy="4367214"/>
          </a:xfrm>
          <a:prstGeom prst="rect">
            <a:avLst/>
          </a:prstGeom>
          <a:noFill/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1B35FF-7B3C-4BDC-A6F4-A913EEC04C89}"/>
              </a:ext>
            </a:extLst>
          </p:cNvPr>
          <p:cNvSpPr txBox="1"/>
          <p:nvPr/>
        </p:nvSpPr>
        <p:spPr>
          <a:xfrm>
            <a:off x="976019" y="1595556"/>
            <a:ext cx="3157831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Get in Touc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18EA60-5DC3-4925-BB5F-51D63C1510C2}"/>
              </a:ext>
            </a:extLst>
          </p:cNvPr>
          <p:cNvCxnSpPr/>
          <p:nvPr/>
        </p:nvCxnSpPr>
        <p:spPr>
          <a:xfrm>
            <a:off x="1099850" y="2262835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BFDA2C9-E297-4FD3-B202-AA23D4BA869F}"/>
              </a:ext>
            </a:extLst>
          </p:cNvPr>
          <p:cNvSpPr/>
          <p:nvPr/>
        </p:nvSpPr>
        <p:spPr>
          <a:xfrm>
            <a:off x="976019" y="2838425"/>
            <a:ext cx="3157831" cy="68653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rPr>
              <a:t>Keep us informed of your ideas and suggestions! We are most pleased to review them and improve this course in anyway!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18B9B93-B843-43A8-9208-246D90419EB7}"/>
              </a:ext>
            </a:extLst>
          </p:cNvPr>
          <p:cNvGrpSpPr/>
          <p:nvPr/>
        </p:nvGrpSpPr>
        <p:grpSpPr>
          <a:xfrm>
            <a:off x="1098304" y="4338376"/>
            <a:ext cx="3035546" cy="283989"/>
            <a:chOff x="1098304" y="4978456"/>
            <a:chExt cx="3035546" cy="283989"/>
          </a:xfrm>
        </p:grpSpPr>
        <p:sp>
          <p:nvSpPr>
            <p:cNvPr id="19" name="Freeform 32">
              <a:extLst>
                <a:ext uri="{FF2B5EF4-FFF2-40B4-BE49-F238E27FC236}">
                  <a16:creationId xmlns:a16="http://schemas.microsoft.com/office/drawing/2014/main" id="{CACF355C-9590-4FD5-B7C9-0258CEE53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304" y="5038025"/>
              <a:ext cx="235374" cy="162106"/>
            </a:xfrm>
            <a:custGeom>
              <a:avLst/>
              <a:gdLst>
                <a:gd name="T0" fmla="*/ 277304 w 256"/>
                <a:gd name="T1" fmla="*/ 126125 h 176"/>
                <a:gd name="T2" fmla="*/ 401613 w 256"/>
                <a:gd name="T3" fmla="*/ 4790 h 176"/>
                <a:gd name="T4" fmla="*/ 407988 w 256"/>
                <a:gd name="T5" fmla="*/ 19158 h 176"/>
                <a:gd name="T6" fmla="*/ 407988 w 256"/>
                <a:gd name="T7" fmla="*/ 261830 h 176"/>
                <a:gd name="T8" fmla="*/ 403207 w 256"/>
                <a:gd name="T9" fmla="*/ 274602 h 176"/>
                <a:gd name="T10" fmla="*/ 277304 w 256"/>
                <a:gd name="T11" fmla="*/ 126125 h 176"/>
                <a:gd name="T12" fmla="*/ 6375 w 256"/>
                <a:gd name="T13" fmla="*/ 4790 h 176"/>
                <a:gd name="T14" fmla="*/ 19124 w 256"/>
                <a:gd name="T15" fmla="*/ 0 h 176"/>
                <a:gd name="T16" fmla="*/ 388864 w 256"/>
                <a:gd name="T17" fmla="*/ 0 h 176"/>
                <a:gd name="T18" fmla="*/ 401613 w 256"/>
                <a:gd name="T19" fmla="*/ 4790 h 176"/>
                <a:gd name="T20" fmla="*/ 203994 w 256"/>
                <a:gd name="T21" fmla="*/ 159652 h 176"/>
                <a:gd name="T22" fmla="*/ 6375 w 256"/>
                <a:gd name="T23" fmla="*/ 4790 h 176"/>
                <a:gd name="T24" fmla="*/ 4781 w 256"/>
                <a:gd name="T25" fmla="*/ 274602 h 176"/>
                <a:gd name="T26" fmla="*/ 0 w 256"/>
                <a:gd name="T27" fmla="*/ 261830 h 176"/>
                <a:gd name="T28" fmla="*/ 0 w 256"/>
                <a:gd name="T29" fmla="*/ 19158 h 176"/>
                <a:gd name="T30" fmla="*/ 6375 w 256"/>
                <a:gd name="T31" fmla="*/ 4790 h 176"/>
                <a:gd name="T32" fmla="*/ 130684 w 256"/>
                <a:gd name="T33" fmla="*/ 126125 h 176"/>
                <a:gd name="T34" fmla="*/ 4781 w 256"/>
                <a:gd name="T35" fmla="*/ 274602 h 176"/>
                <a:gd name="T36" fmla="*/ 203994 w 256"/>
                <a:gd name="T37" fmla="*/ 197969 h 176"/>
                <a:gd name="T38" fmla="*/ 256586 w 256"/>
                <a:gd name="T39" fmla="*/ 146880 h 176"/>
                <a:gd name="T40" fmla="*/ 401613 w 256"/>
                <a:gd name="T41" fmla="*/ 276198 h 176"/>
                <a:gd name="T42" fmla="*/ 388864 w 256"/>
                <a:gd name="T43" fmla="*/ 280988 h 176"/>
                <a:gd name="T44" fmla="*/ 19124 w 256"/>
                <a:gd name="T45" fmla="*/ 280988 h 176"/>
                <a:gd name="T46" fmla="*/ 6375 w 256"/>
                <a:gd name="T47" fmla="*/ 276198 h 176"/>
                <a:gd name="T48" fmla="*/ 151402 w 256"/>
                <a:gd name="T49" fmla="*/ 146880 h 176"/>
                <a:gd name="T50" fmla="*/ 203994 w 256"/>
                <a:gd name="T51" fmla="*/ 197969 h 17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6" h="176">
                  <a:moveTo>
                    <a:pt x="174" y="79"/>
                  </a:moveTo>
                  <a:cubicBezTo>
                    <a:pt x="252" y="3"/>
                    <a:pt x="252" y="3"/>
                    <a:pt x="252" y="3"/>
                  </a:cubicBezTo>
                  <a:cubicBezTo>
                    <a:pt x="255" y="6"/>
                    <a:pt x="256" y="9"/>
                    <a:pt x="256" y="12"/>
                  </a:cubicBezTo>
                  <a:cubicBezTo>
                    <a:pt x="256" y="164"/>
                    <a:pt x="256" y="164"/>
                    <a:pt x="256" y="164"/>
                  </a:cubicBezTo>
                  <a:cubicBezTo>
                    <a:pt x="256" y="167"/>
                    <a:pt x="255" y="170"/>
                    <a:pt x="253" y="172"/>
                  </a:cubicBezTo>
                  <a:lnTo>
                    <a:pt x="174" y="79"/>
                  </a:lnTo>
                  <a:close/>
                  <a:moveTo>
                    <a:pt x="4" y="3"/>
                  </a:moveTo>
                  <a:cubicBezTo>
                    <a:pt x="6" y="1"/>
                    <a:pt x="9" y="0"/>
                    <a:pt x="12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7" y="0"/>
                    <a:pt x="250" y="1"/>
                    <a:pt x="252" y="3"/>
                  </a:cubicBezTo>
                  <a:cubicBezTo>
                    <a:pt x="128" y="100"/>
                    <a:pt x="128" y="100"/>
                    <a:pt x="128" y="100"/>
                  </a:cubicBezTo>
                  <a:lnTo>
                    <a:pt x="4" y="3"/>
                  </a:lnTo>
                  <a:close/>
                  <a:moveTo>
                    <a:pt x="3" y="172"/>
                  </a:moveTo>
                  <a:cubicBezTo>
                    <a:pt x="1" y="170"/>
                    <a:pt x="0" y="167"/>
                    <a:pt x="0" y="1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9"/>
                    <a:pt x="1" y="6"/>
                    <a:pt x="4" y="3"/>
                  </a:cubicBezTo>
                  <a:cubicBezTo>
                    <a:pt x="82" y="79"/>
                    <a:pt x="82" y="79"/>
                    <a:pt x="82" y="79"/>
                  </a:cubicBezTo>
                  <a:lnTo>
                    <a:pt x="3" y="172"/>
                  </a:lnTo>
                  <a:close/>
                  <a:moveTo>
                    <a:pt x="128" y="124"/>
                  </a:moveTo>
                  <a:cubicBezTo>
                    <a:pt x="161" y="92"/>
                    <a:pt x="161" y="92"/>
                    <a:pt x="161" y="92"/>
                  </a:cubicBezTo>
                  <a:cubicBezTo>
                    <a:pt x="252" y="173"/>
                    <a:pt x="252" y="173"/>
                    <a:pt x="252" y="173"/>
                  </a:cubicBezTo>
                  <a:cubicBezTo>
                    <a:pt x="250" y="175"/>
                    <a:pt x="247" y="176"/>
                    <a:pt x="244" y="176"/>
                  </a:cubicBezTo>
                  <a:cubicBezTo>
                    <a:pt x="12" y="176"/>
                    <a:pt x="12" y="176"/>
                    <a:pt x="12" y="176"/>
                  </a:cubicBezTo>
                  <a:cubicBezTo>
                    <a:pt x="9" y="176"/>
                    <a:pt x="6" y="175"/>
                    <a:pt x="4" y="173"/>
                  </a:cubicBezTo>
                  <a:cubicBezTo>
                    <a:pt x="95" y="92"/>
                    <a:pt x="95" y="92"/>
                    <a:pt x="95" y="92"/>
                  </a:cubicBezTo>
                  <a:lnTo>
                    <a:pt x="128" y="12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C174D9C-A442-445D-A2A8-BAE7059B4E97}"/>
                </a:ext>
              </a:extLst>
            </p:cNvPr>
            <p:cNvSpPr/>
            <p:nvPr/>
          </p:nvSpPr>
          <p:spPr>
            <a:xfrm>
              <a:off x="1437673" y="4978456"/>
              <a:ext cx="2696177" cy="28398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kavehmasoumi@protonmail.com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D8C881-ABED-4D3F-8331-F5C3CC077853}"/>
              </a:ext>
            </a:extLst>
          </p:cNvPr>
          <p:cNvGrpSpPr/>
          <p:nvPr/>
        </p:nvGrpSpPr>
        <p:grpSpPr>
          <a:xfrm>
            <a:off x="1098567" y="3818864"/>
            <a:ext cx="3035283" cy="283989"/>
            <a:chOff x="1098567" y="4458944"/>
            <a:chExt cx="3035283" cy="283989"/>
          </a:xfrm>
        </p:grpSpPr>
        <p:sp>
          <p:nvSpPr>
            <p:cNvPr id="13" name="Freeform 50">
              <a:extLst>
                <a:ext uri="{FF2B5EF4-FFF2-40B4-BE49-F238E27FC236}">
                  <a16:creationId xmlns:a16="http://schemas.microsoft.com/office/drawing/2014/main" id="{45C3EF1E-A73B-4F4D-B204-30A0A4E102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8567" y="4480642"/>
              <a:ext cx="234849" cy="232984"/>
            </a:xfrm>
            <a:custGeom>
              <a:avLst/>
              <a:gdLst>
                <a:gd name="T0" fmla="*/ 115780 w 444"/>
                <a:gd name="T1" fmla="*/ 115121 h 443"/>
                <a:gd name="T2" fmla="*/ 115780 w 444"/>
                <a:gd name="T3" fmla="*/ 115121 h 443"/>
                <a:gd name="T4" fmla="*/ 72081 w 444"/>
                <a:gd name="T5" fmla="*/ 138862 h 443"/>
                <a:gd name="T6" fmla="*/ 27931 w 444"/>
                <a:gd name="T7" fmla="*/ 138862 h 443"/>
                <a:gd name="T8" fmla="*/ 31986 w 444"/>
                <a:gd name="T9" fmla="*/ 182312 h 443"/>
                <a:gd name="T10" fmla="*/ 139657 w 444"/>
                <a:gd name="T11" fmla="*/ 138862 h 443"/>
                <a:gd name="T12" fmla="*/ 187411 w 444"/>
                <a:gd name="T13" fmla="*/ 27324 h 443"/>
                <a:gd name="T14" fmla="*/ 143712 w 444"/>
                <a:gd name="T15" fmla="*/ 23741 h 443"/>
                <a:gd name="T16" fmla="*/ 143712 w 444"/>
                <a:gd name="T17" fmla="*/ 67639 h 443"/>
                <a:gd name="T18" fmla="*/ 115780 w 444"/>
                <a:gd name="T19" fmla="*/ 115121 h 4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4" h="443">
                  <a:moveTo>
                    <a:pt x="257" y="257"/>
                  </a:moveTo>
                  <a:lnTo>
                    <a:pt x="257" y="257"/>
                  </a:lnTo>
                  <a:cubicBezTo>
                    <a:pt x="222" y="292"/>
                    <a:pt x="177" y="327"/>
                    <a:pt x="160" y="310"/>
                  </a:cubicBezTo>
                  <a:cubicBezTo>
                    <a:pt x="133" y="283"/>
                    <a:pt x="115" y="265"/>
                    <a:pt x="62" y="310"/>
                  </a:cubicBezTo>
                  <a:cubicBezTo>
                    <a:pt x="0" y="354"/>
                    <a:pt x="44" y="389"/>
                    <a:pt x="71" y="407"/>
                  </a:cubicBezTo>
                  <a:cubicBezTo>
                    <a:pt x="97" y="442"/>
                    <a:pt x="204" y="416"/>
                    <a:pt x="310" y="310"/>
                  </a:cubicBezTo>
                  <a:cubicBezTo>
                    <a:pt x="416" y="204"/>
                    <a:pt x="443" y="97"/>
                    <a:pt x="416" y="61"/>
                  </a:cubicBezTo>
                  <a:cubicBezTo>
                    <a:pt x="390" y="35"/>
                    <a:pt x="363" y="0"/>
                    <a:pt x="319" y="53"/>
                  </a:cubicBezTo>
                  <a:cubicBezTo>
                    <a:pt x="275" y="106"/>
                    <a:pt x="293" y="123"/>
                    <a:pt x="319" y="151"/>
                  </a:cubicBezTo>
                  <a:cubicBezTo>
                    <a:pt x="337" y="167"/>
                    <a:pt x="302" y="212"/>
                    <a:pt x="257" y="257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lIns="34290" tIns="17145" rIns="34290" bIns="17145" anchor="ctr"/>
            <a:lstStyle/>
            <a:p>
              <a:endParaRPr lang="en-US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C0456E9-5AB1-4406-B52A-3DC6C8C11856}"/>
                </a:ext>
              </a:extLst>
            </p:cNvPr>
            <p:cNvSpPr/>
            <p:nvPr/>
          </p:nvSpPr>
          <p:spPr>
            <a:xfrm>
              <a:off x="1437673" y="4458944"/>
              <a:ext cx="2696177" cy="28398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Segoe UI Light" panose="020B0502040204020203" pitchFamily="34" charset="0"/>
                </a:rPr>
                <a:t>+98 939 326 4892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 Light" panose="020B0502040204020203" pitchFamily="34" charset="0"/>
              </a:endParaRPr>
            </a:p>
          </p:txBody>
        </p:sp>
      </p:grpSp>
      <p:sp>
        <p:nvSpPr>
          <p:cNvPr id="25" name="Freeform 2">
            <a:extLst>
              <a:ext uri="{FF2B5EF4-FFF2-40B4-BE49-F238E27FC236}">
                <a16:creationId xmlns:a16="http://schemas.microsoft.com/office/drawing/2014/main" id="{BF51A99B-9143-4F12-8E28-6A122B890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3016" y="2592175"/>
            <a:ext cx="399044" cy="644162"/>
          </a:xfrm>
          <a:custGeom>
            <a:avLst/>
            <a:gdLst>
              <a:gd name="T0" fmla="*/ 55786 w 249"/>
              <a:gd name="T1" fmla="*/ 0 h 400"/>
              <a:gd name="T2" fmla="*/ 55786 w 249"/>
              <a:gd name="T3" fmla="*/ 0 h 400"/>
              <a:gd name="T4" fmla="*/ 0 w 249"/>
              <a:gd name="T5" fmla="*/ 56059 h 400"/>
              <a:gd name="T6" fmla="*/ 55786 w 249"/>
              <a:gd name="T7" fmla="*/ 178940 h 400"/>
              <a:gd name="T8" fmla="*/ 110679 w 249"/>
              <a:gd name="T9" fmla="*/ 56059 h 400"/>
              <a:gd name="T10" fmla="*/ 55786 w 249"/>
              <a:gd name="T11" fmla="*/ 0 h 400"/>
              <a:gd name="T12" fmla="*/ 55786 w 249"/>
              <a:gd name="T13" fmla="*/ 87900 h 400"/>
              <a:gd name="T14" fmla="*/ 55786 w 249"/>
              <a:gd name="T15" fmla="*/ 87900 h 400"/>
              <a:gd name="T16" fmla="*/ 23653 w 249"/>
              <a:gd name="T17" fmla="*/ 56059 h 400"/>
              <a:gd name="T18" fmla="*/ 55786 w 249"/>
              <a:gd name="T19" fmla="*/ 24217 h 400"/>
              <a:gd name="T20" fmla="*/ 87026 w 249"/>
              <a:gd name="T21" fmla="*/ 56059 h 400"/>
              <a:gd name="T22" fmla="*/ 55786 w 249"/>
              <a:gd name="T23" fmla="*/ 87900 h 4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49" h="400">
                <a:moveTo>
                  <a:pt x="125" y="0"/>
                </a:moveTo>
                <a:lnTo>
                  <a:pt x="125" y="0"/>
                </a:lnTo>
                <a:cubicBezTo>
                  <a:pt x="53" y="0"/>
                  <a:pt x="0" y="54"/>
                  <a:pt x="0" y="125"/>
                </a:cubicBezTo>
                <a:cubicBezTo>
                  <a:pt x="0" y="240"/>
                  <a:pt x="125" y="399"/>
                  <a:pt x="125" y="399"/>
                </a:cubicBezTo>
                <a:cubicBezTo>
                  <a:pt x="125" y="399"/>
                  <a:pt x="248" y="240"/>
                  <a:pt x="248" y="125"/>
                </a:cubicBezTo>
                <a:cubicBezTo>
                  <a:pt x="248" y="54"/>
                  <a:pt x="195" y="0"/>
                  <a:pt x="125" y="0"/>
                </a:cubicBezTo>
                <a:close/>
                <a:moveTo>
                  <a:pt x="125" y="196"/>
                </a:moveTo>
                <a:lnTo>
                  <a:pt x="125" y="196"/>
                </a:lnTo>
                <a:cubicBezTo>
                  <a:pt x="88" y="196"/>
                  <a:pt x="53" y="160"/>
                  <a:pt x="53" y="125"/>
                </a:cubicBezTo>
                <a:cubicBezTo>
                  <a:pt x="53" y="89"/>
                  <a:pt x="88" y="54"/>
                  <a:pt x="125" y="54"/>
                </a:cubicBezTo>
                <a:cubicBezTo>
                  <a:pt x="159" y="54"/>
                  <a:pt x="195" y="89"/>
                  <a:pt x="195" y="125"/>
                </a:cubicBezTo>
                <a:cubicBezTo>
                  <a:pt x="195" y="160"/>
                  <a:pt x="159" y="196"/>
                  <a:pt x="125" y="1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0" dist="101600" dir="5400000" algn="t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34290" tIns="17145" rIns="34290" bIns="17145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759023"/>
      </p:ext>
    </p:extLst>
  </p:cSld>
  <p:clrMapOvr>
    <a:masterClrMapping/>
  </p:clrMapOvr>
  <p:transition spd="med">
    <p:pull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8" grpId="0"/>
      <p:bldP spid="2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653C062-20F8-44CD-B6B9-729C1B7B64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693295-B40B-4213-B6A1-275AF16E8F6E}"/>
              </a:ext>
            </a:extLst>
          </p:cNvPr>
          <p:cNvSpPr txBox="1"/>
          <p:nvPr/>
        </p:nvSpPr>
        <p:spPr>
          <a:xfrm>
            <a:off x="7594521" y="5487220"/>
            <a:ext cx="3930563" cy="498726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none" l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2400" spc="600" dirty="0">
                <a:solidFill>
                  <a:schemeClr val="bg1">
                    <a:lumMod val="50000"/>
                  </a:schemeClr>
                </a:solidFill>
                <a:latin typeface="Ubuntu Light" panose="020B0304030602030204" pitchFamily="34" charset="0"/>
                <a:cs typeface="Segoe UI Light" panose="020B0502040204020203" pitchFamily="34" charset="0"/>
              </a:rPr>
              <a:t>For the atten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0065D5-2C2D-4045-A507-2A504F3EE605}"/>
              </a:ext>
            </a:extLst>
          </p:cNvPr>
          <p:cNvSpPr txBox="1"/>
          <p:nvPr/>
        </p:nvSpPr>
        <p:spPr>
          <a:xfrm>
            <a:off x="5984144" y="4147288"/>
            <a:ext cx="5540940" cy="1446550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none" lIns="0" rtlCol="0" anchor="b">
            <a:spAutoFit/>
          </a:bodyPr>
          <a:lstStyle/>
          <a:p>
            <a:pPr algn="r"/>
            <a:r>
              <a:rPr lang="en-US" sz="8800" dirty="0">
                <a:solidFill>
                  <a:schemeClr val="bg1">
                    <a:lumMod val="50000"/>
                  </a:schemeClr>
                </a:solidFill>
                <a:latin typeface="Ubuntu" panose="020B0504030602030204" pitchFamily="34" charset="0"/>
                <a:cs typeface="Segoe UI Light" panose="020B05020402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9331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D578C73-F784-47B9-B7E2-D0C6FE1768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12192000" cy="6858000"/>
          </a:xfrm>
        </p:spPr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6DD24F-3B58-4865-BDCF-CD2F2795697D}"/>
              </a:ext>
            </a:extLst>
          </p:cNvPr>
          <p:cNvSpPr txBox="1"/>
          <p:nvPr/>
        </p:nvSpPr>
        <p:spPr>
          <a:xfrm>
            <a:off x="3701034" y="4042561"/>
            <a:ext cx="4770288" cy="397160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square" lIns="0" rtlCol="0">
            <a:spAutoFit/>
          </a:bodyPr>
          <a:lstStyle>
            <a:defPPr>
              <a:defRPr lang="en-US"/>
            </a:defPPr>
            <a:lvl1pPr algn="ctr">
              <a:lnSpc>
                <a:spcPct val="120000"/>
              </a:lnSpc>
              <a:defRPr sz="2400" spc="600">
                <a:solidFill>
                  <a:schemeClr val="bg1"/>
                </a:solidFill>
                <a:latin typeface="Ubuntu Light" panose="020B030403060203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18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e most famous method of programming…</a:t>
            </a:r>
            <a:endParaRPr lang="en-US" sz="1800" spc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EC48BB-15FF-4AB6-8888-DFA24FF0794F}"/>
              </a:ext>
            </a:extLst>
          </p:cNvPr>
          <p:cNvSpPr txBox="1"/>
          <p:nvPr/>
        </p:nvSpPr>
        <p:spPr>
          <a:xfrm>
            <a:off x="3815094" y="2114840"/>
            <a:ext cx="4581655" cy="1631216"/>
          </a:xfrm>
          <a:prstGeom prst="rect">
            <a:avLst/>
          </a:prstGeom>
          <a:noFill/>
          <a:effectLst>
            <a:outerShdw blurRad="635000" dist="190500" dir="2700000" algn="tr" rotWithShape="0">
              <a:prstClr val="black">
                <a:alpha val="20000"/>
              </a:prstClr>
            </a:outerShdw>
          </a:effectLst>
        </p:spPr>
        <p:txBody>
          <a:bodyPr wrap="square" lIns="0" rtlCol="0" anchor="b">
            <a:spAutoFit/>
          </a:bodyPr>
          <a:lstStyle>
            <a:defPPr>
              <a:defRPr lang="en-US"/>
            </a:defPPr>
            <a:lvl1pPr algn="ctr">
              <a:defRPr sz="8800">
                <a:solidFill>
                  <a:schemeClr val="bg1"/>
                </a:solidFill>
                <a:latin typeface="Ubuntu" panose="020B050403060203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sz="5000" dirty="0" smtClean="0">
                <a:solidFill>
                  <a:schemeClr val="accent1"/>
                </a:solidFill>
              </a:rPr>
              <a:t>Object Oriented Programming</a:t>
            </a:r>
            <a:endParaRPr lang="en-US" sz="5000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663376" y="2114840"/>
            <a:ext cx="51418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</a:rPr>
              <a:t>And now…</a:t>
            </a:r>
            <a:endParaRPr lang="en-US" sz="5000" b="1" dirty="0">
              <a:solidFill>
                <a:schemeClr val="tx1">
                  <a:lumMod val="95000"/>
                  <a:lumOff val="5000"/>
                </a:schemeClr>
              </a:solidFill>
              <a:latin typeface="Freestyle Script" panose="030804020302050B0404" pitchFamily="66" charset="0"/>
            </a:endParaRPr>
          </a:p>
          <a:p>
            <a:pPr algn="ctr"/>
            <a:endParaRPr lang="en-US" sz="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2173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1E98DC96-09BF-42E4-8884-2A67AA63383C}"/>
              </a:ext>
            </a:extLst>
          </p:cNvPr>
          <p:cNvSpPr/>
          <p:nvPr/>
        </p:nvSpPr>
        <p:spPr>
          <a:xfrm>
            <a:off x="6477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5C00A8C-33E4-417C-9297-90D8B06A9BC3}"/>
              </a:ext>
            </a:extLst>
          </p:cNvPr>
          <p:cNvGrpSpPr/>
          <p:nvPr/>
        </p:nvGrpSpPr>
        <p:grpSpPr>
          <a:xfrm>
            <a:off x="2856630" y="4500736"/>
            <a:ext cx="2891028" cy="977906"/>
            <a:chOff x="2823972" y="2240204"/>
            <a:chExt cx="2891028" cy="97790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2E5F321-A314-4451-BBD3-52DDF82293D6}"/>
                </a:ext>
              </a:extLst>
            </p:cNvPr>
            <p:cNvSpPr/>
            <p:nvPr/>
          </p:nvSpPr>
          <p:spPr>
            <a:xfrm>
              <a:off x="2823972" y="2531575"/>
              <a:ext cx="2891028" cy="68653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- What’s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 class and what’s the difference between a class and an instance.</a:t>
              </a:r>
            </a:p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irst steps to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9E2C8A7-5041-4C5D-A788-A8992B32574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3. Class vs Instance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E847F7B4-EC83-41D2-B4C3-923A8E831135}"/>
              </a:ext>
            </a:extLst>
          </p:cNvPr>
          <p:cNvSpPr/>
          <p:nvPr/>
        </p:nvSpPr>
        <p:spPr>
          <a:xfrm>
            <a:off x="647700" y="2060121"/>
            <a:ext cx="5334000" cy="1943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D969B51-6ABD-4BA1-88B8-CFD988F7B933}"/>
              </a:ext>
            </a:extLst>
          </p:cNvPr>
          <p:cNvGrpSpPr/>
          <p:nvPr/>
        </p:nvGrpSpPr>
        <p:grpSpPr>
          <a:xfrm>
            <a:off x="2856629" y="2332084"/>
            <a:ext cx="3010771" cy="873797"/>
            <a:chOff x="2823971" y="2221481"/>
            <a:chExt cx="3010771" cy="873797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F7F686-101E-40EF-9B18-F0EA98976FB3}"/>
                </a:ext>
              </a:extLst>
            </p:cNvPr>
            <p:cNvSpPr/>
            <p:nvPr/>
          </p:nvSpPr>
          <p:spPr>
            <a:xfrm>
              <a:off x="2823972" y="2600399"/>
              <a:ext cx="3010770" cy="4948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bg1"/>
                  </a:solidFill>
                  <a:cs typeface="Segoe UI Light" panose="020B0502040204020203" pitchFamily="34" charset="0"/>
                </a:rPr>
                <a:t>Let’s try sth new in our programming and see how it goes…</a:t>
              </a:r>
              <a:endParaRPr lang="en-US" sz="1200" dirty="0">
                <a:solidFill>
                  <a:schemeClr val="bg1"/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C9BE9FC-99E8-4CA2-ABB4-35A7BE969512}"/>
                </a:ext>
              </a:extLst>
            </p:cNvPr>
            <p:cNvSpPr/>
            <p:nvPr/>
          </p:nvSpPr>
          <p:spPr>
            <a:xfrm>
              <a:off x="2823971" y="2221481"/>
              <a:ext cx="2519849" cy="327141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1. An Example to Begin With</a:t>
              </a:r>
              <a:endParaRPr lang="en-US" sz="1400" dirty="0">
                <a:solidFill>
                  <a:schemeClr val="bg1"/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52D16AE-6BD5-40AA-B7CC-35EB7A2BE401}"/>
              </a:ext>
            </a:extLst>
          </p:cNvPr>
          <p:cNvSpPr/>
          <p:nvPr/>
        </p:nvSpPr>
        <p:spPr>
          <a:xfrm>
            <a:off x="62103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57ACBA-EEA7-467B-9A31-E696C9C420C7}"/>
              </a:ext>
            </a:extLst>
          </p:cNvPr>
          <p:cNvGrpSpPr/>
          <p:nvPr/>
        </p:nvGrpSpPr>
        <p:grpSpPr>
          <a:xfrm>
            <a:off x="8419230" y="4500736"/>
            <a:ext cx="2891028" cy="1380452"/>
            <a:chOff x="2823972" y="2240204"/>
            <a:chExt cx="2891028" cy="1380452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A9464E-BF84-49DE-BA8A-3B126CFF9A0F}"/>
                </a:ext>
              </a:extLst>
            </p:cNvPr>
            <p:cNvSpPr/>
            <p:nvPr/>
          </p:nvSpPr>
          <p:spPr>
            <a:xfrm>
              <a:off x="2823972" y="2531575"/>
              <a:ext cx="2891028" cy="108908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consectetu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dipiscing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li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acini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torto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dapib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usc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lesuad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e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null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e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ibero semper porta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Phasell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dui libero.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94EC3D-6187-4F74-9450-19D287C7FB8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4. OOP in Python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EC2C61D7-9229-4832-854B-15930DD3115B}"/>
              </a:ext>
            </a:extLst>
          </p:cNvPr>
          <p:cNvSpPr/>
          <p:nvPr/>
        </p:nvSpPr>
        <p:spPr>
          <a:xfrm>
            <a:off x="62103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3EF24C9-6F7D-40A6-B050-FE4AAE786D86}"/>
              </a:ext>
            </a:extLst>
          </p:cNvPr>
          <p:cNvGrpSpPr/>
          <p:nvPr/>
        </p:nvGrpSpPr>
        <p:grpSpPr>
          <a:xfrm>
            <a:off x="8288594" y="2350807"/>
            <a:ext cx="3021664" cy="1179178"/>
            <a:chOff x="2823972" y="2240204"/>
            <a:chExt cx="2891028" cy="1179178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725081-2F46-4427-A2A8-B12662851C92}"/>
                </a:ext>
              </a:extLst>
            </p:cNvPr>
            <p:cNvSpPr/>
            <p:nvPr/>
          </p:nvSpPr>
          <p:spPr>
            <a:xfrm>
              <a:off x="2823972" y="2531575"/>
              <a:ext cx="2891028" cy="88780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What does OOP mean?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ome simple explanations and examples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 Python object.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8B4D64F-188A-465C-9434-60C6E5EEBE48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2. 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An Introduction to OOP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4F30863-858F-492E-9C0B-548CD3A84DA0}"/>
              </a:ext>
            </a:extLst>
          </p:cNvPr>
          <p:cNvSpPr txBox="1"/>
          <p:nvPr/>
        </p:nvSpPr>
        <p:spPr>
          <a:xfrm>
            <a:off x="4010026" y="704850"/>
            <a:ext cx="4171949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Contents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BF0719-D1CC-44D6-BA45-AEFCCE7D134F}"/>
              </a:ext>
            </a:extLst>
          </p:cNvPr>
          <p:cNvCxnSpPr/>
          <p:nvPr/>
        </p:nvCxnSpPr>
        <p:spPr>
          <a:xfrm>
            <a:off x="5867400" y="137212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741A4E7-4860-4159-910A-B26A54FA6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66E348-CA7B-4FFA-8DD0-421580685F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8F97CA1-1BDE-4FF6-9841-34DECBD22C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8ACAFB9-B712-48B6-9D2E-C396431D48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25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53577" y="2259264"/>
            <a:ext cx="1504488" cy="1423990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26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070651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75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750"/>
                            </p:stCondLst>
                            <p:childTnLst>
                              <p:par>
                                <p:cTn id="5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6" grpId="0" animBg="1"/>
      <p:bldP spid="41" grpId="0" animBg="1"/>
      <p:bldP spid="46" grpId="0" animBg="1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AC40601-E775-4D71-B81A-963E900251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BE8100-DB04-4F97-8578-831797730E50}"/>
              </a:ext>
            </a:extLst>
          </p:cNvPr>
          <p:cNvSpPr/>
          <p:nvPr/>
        </p:nvSpPr>
        <p:spPr>
          <a:xfrm>
            <a:off x="471948" y="1245393"/>
            <a:ext cx="4906297" cy="4367214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7A2CAD-F612-4C35-BD04-BE170D92ACFB}"/>
              </a:ext>
            </a:extLst>
          </p:cNvPr>
          <p:cNvSpPr/>
          <p:nvPr/>
        </p:nvSpPr>
        <p:spPr>
          <a:xfrm>
            <a:off x="5535562" y="3581277"/>
            <a:ext cx="6302478" cy="143436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Let’s see an example in which we are to code some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program,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that can </a:t>
            </a:r>
            <a:endPara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     - get and store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different information about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cars</a:t>
            </a:r>
          </a:p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     -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do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some tests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and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make some models</a:t>
            </a:r>
          </a:p>
          <a:p>
            <a:pPr algn="just">
              <a:lnSpc>
                <a:spcPct val="109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     - displays it to us</a:t>
            </a:r>
          </a:p>
          <a:p>
            <a:pPr algn="just">
              <a:lnSpc>
                <a:spcPct val="109000"/>
              </a:lnSpc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   - and it has many other features…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8820F1-DAA8-4712-A895-C6577528312A}"/>
              </a:ext>
            </a:extLst>
          </p:cNvPr>
          <p:cNvSpPr txBox="1"/>
          <p:nvPr/>
        </p:nvSpPr>
        <p:spPr>
          <a:xfrm>
            <a:off x="471948" y="3581277"/>
            <a:ext cx="5338917" cy="4801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1. An Example to Begin With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71DC9C-E3FF-4B4B-AA5F-D0C6A20B2B73}"/>
              </a:ext>
            </a:extLst>
          </p:cNvPr>
          <p:cNvCxnSpPr/>
          <p:nvPr/>
        </p:nvCxnSpPr>
        <p:spPr>
          <a:xfrm>
            <a:off x="4596582" y="4099508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r6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854297" y="5264234"/>
            <a:ext cx="1109481" cy="926149"/>
          </a:xfrm>
          <a:custGeom>
            <a:avLst/>
            <a:gdLst>
              <a:gd name="T0" fmla="*/ 425 w 450"/>
              <a:gd name="T1" fmla="*/ 100 h 375"/>
              <a:gd name="T2" fmla="*/ 375 w 450"/>
              <a:gd name="T3" fmla="*/ 100 h 375"/>
              <a:gd name="T4" fmla="*/ 363 w 450"/>
              <a:gd name="T5" fmla="*/ 32 h 375"/>
              <a:gd name="T6" fmla="*/ 303 w 450"/>
              <a:gd name="T7" fmla="*/ 0 h 375"/>
              <a:gd name="T8" fmla="*/ 225 w 450"/>
              <a:gd name="T9" fmla="*/ 0 h 375"/>
              <a:gd name="T10" fmla="*/ 148 w 450"/>
              <a:gd name="T11" fmla="*/ 0 h 375"/>
              <a:gd name="T12" fmla="*/ 88 w 450"/>
              <a:gd name="T13" fmla="*/ 32 h 375"/>
              <a:gd name="T14" fmla="*/ 75 w 450"/>
              <a:gd name="T15" fmla="*/ 100 h 375"/>
              <a:gd name="T16" fmla="*/ 25 w 450"/>
              <a:gd name="T17" fmla="*/ 100 h 375"/>
              <a:gd name="T18" fmla="*/ 0 w 450"/>
              <a:gd name="T19" fmla="*/ 125 h 375"/>
              <a:gd name="T20" fmla="*/ 25 w 450"/>
              <a:gd name="T21" fmla="*/ 150 h 375"/>
              <a:gd name="T22" fmla="*/ 48 w 450"/>
              <a:gd name="T23" fmla="*/ 150 h 375"/>
              <a:gd name="T24" fmla="*/ 38 w 450"/>
              <a:gd name="T25" fmla="*/ 175 h 375"/>
              <a:gd name="T26" fmla="*/ 38 w 450"/>
              <a:gd name="T27" fmla="*/ 275 h 375"/>
              <a:gd name="T28" fmla="*/ 75 w 450"/>
              <a:gd name="T29" fmla="*/ 312 h 375"/>
              <a:gd name="T30" fmla="*/ 88 w 450"/>
              <a:gd name="T31" fmla="*/ 312 h 375"/>
              <a:gd name="T32" fmla="*/ 88 w 450"/>
              <a:gd name="T33" fmla="*/ 343 h 375"/>
              <a:gd name="T34" fmla="*/ 119 w 450"/>
              <a:gd name="T35" fmla="*/ 375 h 375"/>
              <a:gd name="T36" fmla="*/ 150 w 450"/>
              <a:gd name="T37" fmla="*/ 343 h 375"/>
              <a:gd name="T38" fmla="*/ 150 w 450"/>
              <a:gd name="T39" fmla="*/ 312 h 375"/>
              <a:gd name="T40" fmla="*/ 300 w 450"/>
              <a:gd name="T41" fmla="*/ 312 h 375"/>
              <a:gd name="T42" fmla="*/ 300 w 450"/>
              <a:gd name="T43" fmla="*/ 343 h 375"/>
              <a:gd name="T44" fmla="*/ 331 w 450"/>
              <a:gd name="T45" fmla="*/ 375 h 375"/>
              <a:gd name="T46" fmla="*/ 363 w 450"/>
              <a:gd name="T47" fmla="*/ 343 h 375"/>
              <a:gd name="T48" fmla="*/ 363 w 450"/>
              <a:gd name="T49" fmla="*/ 312 h 375"/>
              <a:gd name="T50" fmla="*/ 375 w 450"/>
              <a:gd name="T51" fmla="*/ 312 h 375"/>
              <a:gd name="T52" fmla="*/ 413 w 450"/>
              <a:gd name="T53" fmla="*/ 275 h 375"/>
              <a:gd name="T54" fmla="*/ 413 w 450"/>
              <a:gd name="T55" fmla="*/ 175 h 375"/>
              <a:gd name="T56" fmla="*/ 403 w 450"/>
              <a:gd name="T57" fmla="*/ 150 h 375"/>
              <a:gd name="T58" fmla="*/ 425 w 450"/>
              <a:gd name="T59" fmla="*/ 150 h 375"/>
              <a:gd name="T60" fmla="*/ 450 w 450"/>
              <a:gd name="T61" fmla="*/ 125 h 375"/>
              <a:gd name="T62" fmla="*/ 425 w 450"/>
              <a:gd name="T63" fmla="*/ 100 h 375"/>
              <a:gd name="T64" fmla="*/ 315 w 450"/>
              <a:gd name="T65" fmla="*/ 50 h 375"/>
              <a:gd name="T66" fmla="*/ 333 w 450"/>
              <a:gd name="T67" fmla="*/ 137 h 375"/>
              <a:gd name="T68" fmla="*/ 118 w 450"/>
              <a:gd name="T69" fmla="*/ 137 h 375"/>
              <a:gd name="T70" fmla="*/ 135 w 450"/>
              <a:gd name="T71" fmla="*/ 50 h 375"/>
              <a:gd name="T72" fmla="*/ 315 w 450"/>
              <a:gd name="T73" fmla="*/ 50 h 375"/>
              <a:gd name="T74" fmla="*/ 113 w 450"/>
              <a:gd name="T75" fmla="*/ 225 h 375"/>
              <a:gd name="T76" fmla="*/ 88 w 450"/>
              <a:gd name="T77" fmla="*/ 200 h 375"/>
              <a:gd name="T78" fmla="*/ 113 w 450"/>
              <a:gd name="T79" fmla="*/ 175 h 375"/>
              <a:gd name="T80" fmla="*/ 138 w 450"/>
              <a:gd name="T81" fmla="*/ 200 h 375"/>
              <a:gd name="T82" fmla="*/ 113 w 450"/>
              <a:gd name="T83" fmla="*/ 225 h 375"/>
              <a:gd name="T84" fmla="*/ 338 w 450"/>
              <a:gd name="T85" fmla="*/ 225 h 375"/>
              <a:gd name="T86" fmla="*/ 313 w 450"/>
              <a:gd name="T87" fmla="*/ 200 h 375"/>
              <a:gd name="T88" fmla="*/ 338 w 450"/>
              <a:gd name="T89" fmla="*/ 175 h 375"/>
              <a:gd name="T90" fmla="*/ 363 w 450"/>
              <a:gd name="T91" fmla="*/ 200 h 375"/>
              <a:gd name="T92" fmla="*/ 338 w 450"/>
              <a:gd name="T93" fmla="*/ 225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0" h="375">
                <a:moveTo>
                  <a:pt x="425" y="100"/>
                </a:moveTo>
                <a:lnTo>
                  <a:pt x="375" y="100"/>
                </a:lnTo>
                <a:lnTo>
                  <a:pt x="363" y="32"/>
                </a:lnTo>
                <a:cubicBezTo>
                  <a:pt x="355" y="0"/>
                  <a:pt x="321" y="0"/>
                  <a:pt x="303" y="0"/>
                </a:cubicBezTo>
                <a:lnTo>
                  <a:pt x="225" y="0"/>
                </a:lnTo>
                <a:lnTo>
                  <a:pt x="148" y="0"/>
                </a:lnTo>
                <a:cubicBezTo>
                  <a:pt x="129" y="0"/>
                  <a:pt x="94" y="0"/>
                  <a:pt x="88" y="32"/>
                </a:cubicBezTo>
                <a:lnTo>
                  <a:pt x="75" y="100"/>
                </a:lnTo>
                <a:lnTo>
                  <a:pt x="25" y="100"/>
                </a:lnTo>
                <a:cubicBezTo>
                  <a:pt x="11" y="100"/>
                  <a:pt x="0" y="111"/>
                  <a:pt x="0" y="125"/>
                </a:cubicBezTo>
                <a:cubicBezTo>
                  <a:pt x="0" y="138"/>
                  <a:pt x="11" y="150"/>
                  <a:pt x="25" y="150"/>
                </a:cubicBezTo>
                <a:lnTo>
                  <a:pt x="48" y="150"/>
                </a:lnTo>
                <a:cubicBezTo>
                  <a:pt x="41" y="156"/>
                  <a:pt x="38" y="165"/>
                  <a:pt x="38" y="175"/>
                </a:cubicBezTo>
                <a:lnTo>
                  <a:pt x="38" y="275"/>
                </a:lnTo>
                <a:cubicBezTo>
                  <a:pt x="38" y="295"/>
                  <a:pt x="54" y="312"/>
                  <a:pt x="75" y="312"/>
                </a:cubicBezTo>
                <a:lnTo>
                  <a:pt x="88" y="312"/>
                </a:lnTo>
                <a:lnTo>
                  <a:pt x="88" y="343"/>
                </a:lnTo>
                <a:cubicBezTo>
                  <a:pt x="88" y="361"/>
                  <a:pt x="101" y="375"/>
                  <a:pt x="119" y="375"/>
                </a:cubicBezTo>
                <a:cubicBezTo>
                  <a:pt x="136" y="375"/>
                  <a:pt x="150" y="361"/>
                  <a:pt x="150" y="343"/>
                </a:cubicBezTo>
                <a:lnTo>
                  <a:pt x="150" y="312"/>
                </a:lnTo>
                <a:lnTo>
                  <a:pt x="300" y="312"/>
                </a:lnTo>
                <a:lnTo>
                  <a:pt x="300" y="343"/>
                </a:lnTo>
                <a:cubicBezTo>
                  <a:pt x="300" y="361"/>
                  <a:pt x="314" y="375"/>
                  <a:pt x="331" y="375"/>
                </a:cubicBezTo>
                <a:cubicBezTo>
                  <a:pt x="349" y="375"/>
                  <a:pt x="363" y="361"/>
                  <a:pt x="363" y="343"/>
                </a:cubicBezTo>
                <a:lnTo>
                  <a:pt x="363" y="312"/>
                </a:lnTo>
                <a:lnTo>
                  <a:pt x="375" y="312"/>
                </a:lnTo>
                <a:cubicBezTo>
                  <a:pt x="396" y="312"/>
                  <a:pt x="413" y="295"/>
                  <a:pt x="413" y="275"/>
                </a:cubicBezTo>
                <a:lnTo>
                  <a:pt x="413" y="175"/>
                </a:lnTo>
                <a:cubicBezTo>
                  <a:pt x="413" y="165"/>
                  <a:pt x="409" y="156"/>
                  <a:pt x="403" y="150"/>
                </a:cubicBezTo>
                <a:lnTo>
                  <a:pt x="425" y="150"/>
                </a:lnTo>
                <a:cubicBezTo>
                  <a:pt x="439" y="150"/>
                  <a:pt x="450" y="138"/>
                  <a:pt x="450" y="125"/>
                </a:cubicBezTo>
                <a:cubicBezTo>
                  <a:pt x="450" y="111"/>
                  <a:pt x="439" y="100"/>
                  <a:pt x="425" y="100"/>
                </a:cubicBezTo>
                <a:close/>
                <a:moveTo>
                  <a:pt x="315" y="50"/>
                </a:moveTo>
                <a:lnTo>
                  <a:pt x="333" y="137"/>
                </a:lnTo>
                <a:lnTo>
                  <a:pt x="118" y="137"/>
                </a:lnTo>
                <a:lnTo>
                  <a:pt x="135" y="50"/>
                </a:lnTo>
                <a:lnTo>
                  <a:pt x="315" y="50"/>
                </a:lnTo>
                <a:close/>
                <a:moveTo>
                  <a:pt x="113" y="225"/>
                </a:moveTo>
                <a:cubicBezTo>
                  <a:pt x="99" y="225"/>
                  <a:pt x="88" y="213"/>
                  <a:pt x="88" y="200"/>
                </a:cubicBezTo>
                <a:cubicBezTo>
                  <a:pt x="88" y="186"/>
                  <a:pt x="99" y="175"/>
                  <a:pt x="113" y="175"/>
                </a:cubicBezTo>
                <a:cubicBezTo>
                  <a:pt x="126" y="175"/>
                  <a:pt x="138" y="186"/>
                  <a:pt x="138" y="200"/>
                </a:cubicBezTo>
                <a:cubicBezTo>
                  <a:pt x="138" y="213"/>
                  <a:pt x="126" y="225"/>
                  <a:pt x="113" y="225"/>
                </a:cubicBezTo>
                <a:close/>
                <a:moveTo>
                  <a:pt x="338" y="225"/>
                </a:moveTo>
                <a:cubicBezTo>
                  <a:pt x="324" y="225"/>
                  <a:pt x="313" y="213"/>
                  <a:pt x="313" y="200"/>
                </a:cubicBezTo>
                <a:cubicBezTo>
                  <a:pt x="313" y="186"/>
                  <a:pt x="324" y="175"/>
                  <a:pt x="338" y="175"/>
                </a:cubicBezTo>
                <a:cubicBezTo>
                  <a:pt x="351" y="175"/>
                  <a:pt x="363" y="186"/>
                  <a:pt x="363" y="200"/>
                </a:cubicBezTo>
                <a:cubicBezTo>
                  <a:pt x="363" y="213"/>
                  <a:pt x="351" y="225"/>
                  <a:pt x="338" y="22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Car5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810865" y="5314230"/>
            <a:ext cx="1013912" cy="876153"/>
          </a:xfrm>
          <a:custGeom>
            <a:avLst/>
            <a:gdLst>
              <a:gd name="T0" fmla="*/ 1137 w 1250"/>
              <a:gd name="T1" fmla="*/ 359 h 1079"/>
              <a:gd name="T2" fmla="*/ 1034 w 1250"/>
              <a:gd name="T3" fmla="*/ 94 h 1079"/>
              <a:gd name="T4" fmla="*/ 894 w 1250"/>
              <a:gd name="T5" fmla="*/ 0 h 1079"/>
              <a:gd name="T6" fmla="*/ 749 w 1250"/>
              <a:gd name="T7" fmla="*/ 0 h 1079"/>
              <a:gd name="T8" fmla="*/ 502 w 1250"/>
              <a:gd name="T9" fmla="*/ 0 h 1079"/>
              <a:gd name="T10" fmla="*/ 355 w 1250"/>
              <a:gd name="T11" fmla="*/ 0 h 1079"/>
              <a:gd name="T12" fmla="*/ 215 w 1250"/>
              <a:gd name="T13" fmla="*/ 94 h 1079"/>
              <a:gd name="T14" fmla="*/ 113 w 1250"/>
              <a:gd name="T15" fmla="*/ 359 h 1079"/>
              <a:gd name="T16" fmla="*/ 0 w 1250"/>
              <a:gd name="T17" fmla="*/ 502 h 1079"/>
              <a:gd name="T18" fmla="*/ 0 w 1250"/>
              <a:gd name="T19" fmla="*/ 839 h 1079"/>
              <a:gd name="T20" fmla="*/ 100 w 1250"/>
              <a:gd name="T21" fmla="*/ 839 h 1079"/>
              <a:gd name="T22" fmla="*/ 100 w 1250"/>
              <a:gd name="T23" fmla="*/ 947 h 1079"/>
              <a:gd name="T24" fmla="*/ 287 w 1250"/>
              <a:gd name="T25" fmla="*/ 947 h 1079"/>
              <a:gd name="T26" fmla="*/ 287 w 1250"/>
              <a:gd name="T27" fmla="*/ 839 h 1079"/>
              <a:gd name="T28" fmla="*/ 625 w 1250"/>
              <a:gd name="T29" fmla="*/ 839 h 1079"/>
              <a:gd name="T30" fmla="*/ 962 w 1250"/>
              <a:gd name="T31" fmla="*/ 839 h 1079"/>
              <a:gd name="T32" fmla="*/ 962 w 1250"/>
              <a:gd name="T33" fmla="*/ 947 h 1079"/>
              <a:gd name="T34" fmla="*/ 1150 w 1250"/>
              <a:gd name="T35" fmla="*/ 947 h 1079"/>
              <a:gd name="T36" fmla="*/ 1150 w 1250"/>
              <a:gd name="T37" fmla="*/ 839 h 1079"/>
              <a:gd name="T38" fmla="*/ 1250 w 1250"/>
              <a:gd name="T39" fmla="*/ 839 h 1079"/>
              <a:gd name="T40" fmla="*/ 1250 w 1250"/>
              <a:gd name="T41" fmla="*/ 502 h 1079"/>
              <a:gd name="T42" fmla="*/ 1137 w 1250"/>
              <a:gd name="T43" fmla="*/ 359 h 1079"/>
              <a:gd name="T44" fmla="*/ 197 w 1250"/>
              <a:gd name="T45" fmla="*/ 636 h 1079"/>
              <a:gd name="T46" fmla="*/ 110 w 1250"/>
              <a:gd name="T47" fmla="*/ 547 h 1079"/>
              <a:gd name="T48" fmla="*/ 197 w 1250"/>
              <a:gd name="T49" fmla="*/ 458 h 1079"/>
              <a:gd name="T50" fmla="*/ 283 w 1250"/>
              <a:gd name="T51" fmla="*/ 547 h 1079"/>
              <a:gd name="T52" fmla="*/ 197 w 1250"/>
              <a:gd name="T53" fmla="*/ 636 h 1079"/>
              <a:gd name="T54" fmla="*/ 625 w 1250"/>
              <a:gd name="T55" fmla="*/ 356 h 1079"/>
              <a:gd name="T56" fmla="*/ 624 w 1250"/>
              <a:gd name="T57" fmla="*/ 356 h 1079"/>
              <a:gd name="T58" fmla="*/ 219 w 1250"/>
              <a:gd name="T59" fmla="*/ 356 h 1079"/>
              <a:gd name="T60" fmla="*/ 297 w 1250"/>
              <a:gd name="T61" fmla="*/ 148 h 1079"/>
              <a:gd name="T62" fmla="*/ 355 w 1250"/>
              <a:gd name="T63" fmla="*/ 97 h 1079"/>
              <a:gd name="T64" fmla="*/ 624 w 1250"/>
              <a:gd name="T65" fmla="*/ 97 h 1079"/>
              <a:gd name="T66" fmla="*/ 625 w 1250"/>
              <a:gd name="T67" fmla="*/ 97 h 1079"/>
              <a:gd name="T68" fmla="*/ 896 w 1250"/>
              <a:gd name="T69" fmla="*/ 97 h 1079"/>
              <a:gd name="T70" fmla="*/ 953 w 1250"/>
              <a:gd name="T71" fmla="*/ 148 h 1079"/>
              <a:gd name="T72" fmla="*/ 1031 w 1250"/>
              <a:gd name="T73" fmla="*/ 356 h 1079"/>
              <a:gd name="T74" fmla="*/ 625 w 1250"/>
              <a:gd name="T75" fmla="*/ 356 h 1079"/>
              <a:gd name="T76" fmla="*/ 1053 w 1250"/>
              <a:gd name="T77" fmla="*/ 636 h 1079"/>
              <a:gd name="T78" fmla="*/ 966 w 1250"/>
              <a:gd name="T79" fmla="*/ 547 h 1079"/>
              <a:gd name="T80" fmla="*/ 1053 w 1250"/>
              <a:gd name="T81" fmla="*/ 458 h 1079"/>
              <a:gd name="T82" fmla="*/ 1140 w 1250"/>
              <a:gd name="T83" fmla="*/ 547 h 1079"/>
              <a:gd name="T84" fmla="*/ 1053 w 1250"/>
              <a:gd name="T85" fmla="*/ 636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50" h="1079">
                <a:moveTo>
                  <a:pt x="1137" y="359"/>
                </a:moveTo>
                <a:lnTo>
                  <a:pt x="1034" y="94"/>
                </a:lnTo>
                <a:cubicBezTo>
                  <a:pt x="1015" y="43"/>
                  <a:pt x="973" y="0"/>
                  <a:pt x="894" y="0"/>
                </a:cubicBezTo>
                <a:lnTo>
                  <a:pt x="749" y="0"/>
                </a:lnTo>
                <a:lnTo>
                  <a:pt x="502" y="0"/>
                </a:lnTo>
                <a:lnTo>
                  <a:pt x="355" y="0"/>
                </a:lnTo>
                <a:cubicBezTo>
                  <a:pt x="276" y="0"/>
                  <a:pt x="235" y="43"/>
                  <a:pt x="215" y="94"/>
                </a:cubicBezTo>
                <a:lnTo>
                  <a:pt x="113" y="359"/>
                </a:lnTo>
                <a:cubicBezTo>
                  <a:pt x="72" y="364"/>
                  <a:pt x="0" y="412"/>
                  <a:pt x="0" y="502"/>
                </a:cubicBezTo>
                <a:lnTo>
                  <a:pt x="0" y="839"/>
                </a:lnTo>
                <a:lnTo>
                  <a:pt x="100" y="839"/>
                </a:lnTo>
                <a:lnTo>
                  <a:pt x="100" y="947"/>
                </a:lnTo>
                <a:cubicBezTo>
                  <a:pt x="100" y="1079"/>
                  <a:pt x="287" y="1078"/>
                  <a:pt x="287" y="947"/>
                </a:cubicBezTo>
                <a:lnTo>
                  <a:pt x="287" y="839"/>
                </a:lnTo>
                <a:lnTo>
                  <a:pt x="625" y="839"/>
                </a:lnTo>
                <a:lnTo>
                  <a:pt x="962" y="839"/>
                </a:lnTo>
                <a:lnTo>
                  <a:pt x="962" y="947"/>
                </a:lnTo>
                <a:cubicBezTo>
                  <a:pt x="962" y="1078"/>
                  <a:pt x="1150" y="1079"/>
                  <a:pt x="1150" y="947"/>
                </a:cubicBezTo>
                <a:lnTo>
                  <a:pt x="1150" y="839"/>
                </a:lnTo>
                <a:lnTo>
                  <a:pt x="1250" y="839"/>
                </a:lnTo>
                <a:lnTo>
                  <a:pt x="1250" y="502"/>
                </a:lnTo>
                <a:cubicBezTo>
                  <a:pt x="1250" y="412"/>
                  <a:pt x="1178" y="364"/>
                  <a:pt x="1137" y="359"/>
                </a:cubicBezTo>
                <a:close/>
                <a:moveTo>
                  <a:pt x="197" y="636"/>
                </a:moveTo>
                <a:cubicBezTo>
                  <a:pt x="149" y="636"/>
                  <a:pt x="110" y="596"/>
                  <a:pt x="110" y="547"/>
                </a:cubicBezTo>
                <a:cubicBezTo>
                  <a:pt x="110" y="497"/>
                  <a:pt x="149" y="457"/>
                  <a:pt x="197" y="458"/>
                </a:cubicBezTo>
                <a:cubicBezTo>
                  <a:pt x="244" y="457"/>
                  <a:pt x="283" y="497"/>
                  <a:pt x="283" y="547"/>
                </a:cubicBezTo>
                <a:cubicBezTo>
                  <a:pt x="283" y="596"/>
                  <a:pt x="244" y="636"/>
                  <a:pt x="197" y="636"/>
                </a:cubicBezTo>
                <a:close/>
                <a:moveTo>
                  <a:pt x="625" y="356"/>
                </a:moveTo>
                <a:lnTo>
                  <a:pt x="624" y="356"/>
                </a:lnTo>
                <a:lnTo>
                  <a:pt x="219" y="356"/>
                </a:lnTo>
                <a:lnTo>
                  <a:pt x="297" y="148"/>
                </a:lnTo>
                <a:cubicBezTo>
                  <a:pt x="306" y="118"/>
                  <a:pt x="320" y="97"/>
                  <a:pt x="355" y="97"/>
                </a:cubicBezTo>
                <a:lnTo>
                  <a:pt x="624" y="97"/>
                </a:lnTo>
                <a:lnTo>
                  <a:pt x="625" y="97"/>
                </a:lnTo>
                <a:lnTo>
                  <a:pt x="896" y="97"/>
                </a:lnTo>
                <a:cubicBezTo>
                  <a:pt x="929" y="97"/>
                  <a:pt x="944" y="118"/>
                  <a:pt x="953" y="148"/>
                </a:cubicBezTo>
                <a:lnTo>
                  <a:pt x="1031" y="356"/>
                </a:lnTo>
                <a:lnTo>
                  <a:pt x="625" y="356"/>
                </a:lnTo>
                <a:close/>
                <a:moveTo>
                  <a:pt x="1053" y="636"/>
                </a:moveTo>
                <a:cubicBezTo>
                  <a:pt x="1005" y="636"/>
                  <a:pt x="966" y="596"/>
                  <a:pt x="966" y="547"/>
                </a:cubicBezTo>
                <a:cubicBezTo>
                  <a:pt x="966" y="497"/>
                  <a:pt x="1005" y="457"/>
                  <a:pt x="1053" y="458"/>
                </a:cubicBezTo>
                <a:cubicBezTo>
                  <a:pt x="1101" y="457"/>
                  <a:pt x="1140" y="497"/>
                  <a:pt x="1140" y="547"/>
                </a:cubicBezTo>
                <a:cubicBezTo>
                  <a:pt x="1140" y="596"/>
                  <a:pt x="1101" y="636"/>
                  <a:pt x="1053" y="6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axi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9993298" y="5289232"/>
            <a:ext cx="1114596" cy="926149"/>
          </a:xfrm>
          <a:custGeom>
            <a:avLst/>
            <a:gdLst>
              <a:gd name="T0" fmla="*/ 616 w 733"/>
              <a:gd name="T1" fmla="*/ 475 h 608"/>
              <a:gd name="T2" fmla="*/ 566 w 733"/>
              <a:gd name="T3" fmla="*/ 425 h 608"/>
              <a:gd name="T4" fmla="*/ 616 w 733"/>
              <a:gd name="T5" fmla="*/ 375 h 608"/>
              <a:gd name="T6" fmla="*/ 666 w 733"/>
              <a:gd name="T7" fmla="*/ 425 h 608"/>
              <a:gd name="T8" fmla="*/ 616 w 733"/>
              <a:gd name="T9" fmla="*/ 475 h 608"/>
              <a:gd name="T10" fmla="*/ 134 w 733"/>
              <a:gd name="T11" fmla="*/ 275 h 608"/>
              <a:gd name="T12" fmla="*/ 165 w 733"/>
              <a:gd name="T13" fmla="*/ 167 h 608"/>
              <a:gd name="T14" fmla="*/ 200 w 733"/>
              <a:gd name="T15" fmla="*/ 125 h 608"/>
              <a:gd name="T16" fmla="*/ 533 w 733"/>
              <a:gd name="T17" fmla="*/ 125 h 608"/>
              <a:gd name="T18" fmla="*/ 567 w 733"/>
              <a:gd name="T19" fmla="*/ 167 h 608"/>
              <a:gd name="T20" fmla="*/ 596 w 733"/>
              <a:gd name="T21" fmla="*/ 275 h 608"/>
              <a:gd name="T22" fmla="*/ 134 w 733"/>
              <a:gd name="T23" fmla="*/ 275 h 608"/>
              <a:gd name="T24" fmla="*/ 116 w 733"/>
              <a:gd name="T25" fmla="*/ 475 h 608"/>
              <a:gd name="T26" fmla="*/ 66 w 733"/>
              <a:gd name="T27" fmla="*/ 425 h 608"/>
              <a:gd name="T28" fmla="*/ 116 w 733"/>
              <a:gd name="T29" fmla="*/ 375 h 608"/>
              <a:gd name="T30" fmla="*/ 166 w 733"/>
              <a:gd name="T31" fmla="*/ 425 h 608"/>
              <a:gd name="T32" fmla="*/ 116 w 733"/>
              <a:gd name="T33" fmla="*/ 475 h 608"/>
              <a:gd name="T34" fmla="*/ 666 w 733"/>
              <a:gd name="T35" fmla="*/ 281 h 608"/>
              <a:gd name="T36" fmla="*/ 632 w 733"/>
              <a:gd name="T37" fmla="*/ 150 h 608"/>
              <a:gd name="T38" fmla="*/ 533 w 733"/>
              <a:gd name="T39" fmla="*/ 58 h 608"/>
              <a:gd name="T40" fmla="*/ 493 w 733"/>
              <a:gd name="T41" fmla="*/ 58 h 608"/>
              <a:gd name="T42" fmla="*/ 493 w 733"/>
              <a:gd name="T43" fmla="*/ 56 h 608"/>
              <a:gd name="T44" fmla="*/ 492 w 733"/>
              <a:gd name="T45" fmla="*/ 51 h 608"/>
              <a:gd name="T46" fmla="*/ 433 w 733"/>
              <a:gd name="T47" fmla="*/ 0 h 608"/>
              <a:gd name="T48" fmla="*/ 298 w 733"/>
              <a:gd name="T49" fmla="*/ 0 h 608"/>
              <a:gd name="T50" fmla="*/ 239 w 733"/>
              <a:gd name="T51" fmla="*/ 51 h 608"/>
              <a:gd name="T52" fmla="*/ 238 w 733"/>
              <a:gd name="T53" fmla="*/ 54 h 608"/>
              <a:gd name="T54" fmla="*/ 238 w 733"/>
              <a:gd name="T55" fmla="*/ 58 h 608"/>
              <a:gd name="T56" fmla="*/ 200 w 733"/>
              <a:gd name="T57" fmla="*/ 58 h 608"/>
              <a:gd name="T58" fmla="*/ 101 w 733"/>
              <a:gd name="T59" fmla="*/ 149 h 608"/>
              <a:gd name="T60" fmla="*/ 63 w 733"/>
              <a:gd name="T61" fmla="*/ 282 h 608"/>
              <a:gd name="T62" fmla="*/ 0 w 733"/>
              <a:gd name="T63" fmla="*/ 375 h 608"/>
              <a:gd name="T64" fmla="*/ 0 w 733"/>
              <a:gd name="T65" fmla="*/ 442 h 608"/>
              <a:gd name="T66" fmla="*/ 66 w 733"/>
              <a:gd name="T67" fmla="*/ 536 h 608"/>
              <a:gd name="T68" fmla="*/ 66 w 733"/>
              <a:gd name="T69" fmla="*/ 575 h 608"/>
              <a:gd name="T70" fmla="*/ 100 w 733"/>
              <a:gd name="T71" fmla="*/ 608 h 608"/>
              <a:gd name="T72" fmla="*/ 133 w 733"/>
              <a:gd name="T73" fmla="*/ 608 h 608"/>
              <a:gd name="T74" fmla="*/ 166 w 733"/>
              <a:gd name="T75" fmla="*/ 575 h 608"/>
              <a:gd name="T76" fmla="*/ 166 w 733"/>
              <a:gd name="T77" fmla="*/ 542 h 608"/>
              <a:gd name="T78" fmla="*/ 566 w 733"/>
              <a:gd name="T79" fmla="*/ 542 h 608"/>
              <a:gd name="T80" fmla="*/ 566 w 733"/>
              <a:gd name="T81" fmla="*/ 575 h 608"/>
              <a:gd name="T82" fmla="*/ 600 w 733"/>
              <a:gd name="T83" fmla="*/ 608 h 608"/>
              <a:gd name="T84" fmla="*/ 633 w 733"/>
              <a:gd name="T85" fmla="*/ 608 h 608"/>
              <a:gd name="T86" fmla="*/ 666 w 733"/>
              <a:gd name="T87" fmla="*/ 575 h 608"/>
              <a:gd name="T88" fmla="*/ 666 w 733"/>
              <a:gd name="T89" fmla="*/ 536 h 608"/>
              <a:gd name="T90" fmla="*/ 733 w 733"/>
              <a:gd name="T91" fmla="*/ 442 h 608"/>
              <a:gd name="T92" fmla="*/ 733 w 733"/>
              <a:gd name="T93" fmla="*/ 375 h 608"/>
              <a:gd name="T94" fmla="*/ 666 w 733"/>
              <a:gd name="T95" fmla="*/ 281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3" h="608">
                <a:moveTo>
                  <a:pt x="616" y="475"/>
                </a:moveTo>
                <a:cubicBezTo>
                  <a:pt x="589" y="475"/>
                  <a:pt x="566" y="453"/>
                  <a:pt x="566" y="425"/>
                </a:cubicBezTo>
                <a:cubicBezTo>
                  <a:pt x="566" y="397"/>
                  <a:pt x="589" y="375"/>
                  <a:pt x="616" y="375"/>
                </a:cubicBezTo>
                <a:cubicBezTo>
                  <a:pt x="644" y="375"/>
                  <a:pt x="666" y="397"/>
                  <a:pt x="666" y="425"/>
                </a:cubicBezTo>
                <a:cubicBezTo>
                  <a:pt x="666" y="453"/>
                  <a:pt x="644" y="475"/>
                  <a:pt x="616" y="475"/>
                </a:cubicBezTo>
                <a:close/>
                <a:moveTo>
                  <a:pt x="134" y="275"/>
                </a:moveTo>
                <a:lnTo>
                  <a:pt x="165" y="167"/>
                </a:lnTo>
                <a:cubicBezTo>
                  <a:pt x="169" y="154"/>
                  <a:pt x="179" y="125"/>
                  <a:pt x="200" y="125"/>
                </a:cubicBezTo>
                <a:lnTo>
                  <a:pt x="533" y="125"/>
                </a:lnTo>
                <a:cubicBezTo>
                  <a:pt x="554" y="125"/>
                  <a:pt x="564" y="154"/>
                  <a:pt x="567" y="167"/>
                </a:cubicBezTo>
                <a:lnTo>
                  <a:pt x="596" y="275"/>
                </a:lnTo>
                <a:lnTo>
                  <a:pt x="134" y="275"/>
                </a:lnTo>
                <a:close/>
                <a:moveTo>
                  <a:pt x="116" y="475"/>
                </a:moveTo>
                <a:cubicBezTo>
                  <a:pt x="89" y="475"/>
                  <a:pt x="66" y="453"/>
                  <a:pt x="66" y="425"/>
                </a:cubicBezTo>
                <a:cubicBezTo>
                  <a:pt x="66" y="397"/>
                  <a:pt x="89" y="375"/>
                  <a:pt x="116" y="375"/>
                </a:cubicBezTo>
                <a:cubicBezTo>
                  <a:pt x="144" y="375"/>
                  <a:pt x="166" y="397"/>
                  <a:pt x="166" y="425"/>
                </a:cubicBezTo>
                <a:cubicBezTo>
                  <a:pt x="166" y="453"/>
                  <a:pt x="144" y="475"/>
                  <a:pt x="116" y="475"/>
                </a:cubicBezTo>
                <a:close/>
                <a:moveTo>
                  <a:pt x="666" y="281"/>
                </a:moveTo>
                <a:lnTo>
                  <a:pt x="632" y="150"/>
                </a:lnTo>
                <a:cubicBezTo>
                  <a:pt x="616" y="92"/>
                  <a:pt x="579" y="58"/>
                  <a:pt x="533" y="58"/>
                </a:cubicBezTo>
                <a:lnTo>
                  <a:pt x="493" y="58"/>
                </a:lnTo>
                <a:lnTo>
                  <a:pt x="493" y="56"/>
                </a:lnTo>
                <a:lnTo>
                  <a:pt x="492" y="51"/>
                </a:lnTo>
                <a:cubicBezTo>
                  <a:pt x="483" y="19"/>
                  <a:pt x="461" y="0"/>
                  <a:pt x="433" y="0"/>
                </a:cubicBezTo>
                <a:lnTo>
                  <a:pt x="298" y="0"/>
                </a:lnTo>
                <a:cubicBezTo>
                  <a:pt x="270" y="0"/>
                  <a:pt x="247" y="19"/>
                  <a:pt x="239" y="51"/>
                </a:cubicBezTo>
                <a:lnTo>
                  <a:pt x="238" y="54"/>
                </a:lnTo>
                <a:lnTo>
                  <a:pt x="238" y="58"/>
                </a:lnTo>
                <a:lnTo>
                  <a:pt x="200" y="58"/>
                </a:lnTo>
                <a:cubicBezTo>
                  <a:pt x="153" y="58"/>
                  <a:pt x="116" y="92"/>
                  <a:pt x="101" y="149"/>
                </a:cubicBezTo>
                <a:lnTo>
                  <a:pt x="63" y="282"/>
                </a:lnTo>
                <a:cubicBezTo>
                  <a:pt x="26" y="297"/>
                  <a:pt x="0" y="333"/>
                  <a:pt x="0" y="375"/>
                </a:cubicBezTo>
                <a:lnTo>
                  <a:pt x="0" y="442"/>
                </a:lnTo>
                <a:cubicBezTo>
                  <a:pt x="0" y="485"/>
                  <a:pt x="28" y="522"/>
                  <a:pt x="66" y="536"/>
                </a:cubicBezTo>
                <a:lnTo>
                  <a:pt x="66" y="575"/>
                </a:lnTo>
                <a:cubicBezTo>
                  <a:pt x="66" y="593"/>
                  <a:pt x="81" y="608"/>
                  <a:pt x="100" y="608"/>
                </a:cubicBezTo>
                <a:lnTo>
                  <a:pt x="133" y="608"/>
                </a:lnTo>
                <a:cubicBezTo>
                  <a:pt x="151" y="608"/>
                  <a:pt x="166" y="593"/>
                  <a:pt x="166" y="575"/>
                </a:cubicBezTo>
                <a:lnTo>
                  <a:pt x="166" y="542"/>
                </a:lnTo>
                <a:lnTo>
                  <a:pt x="566" y="542"/>
                </a:lnTo>
                <a:lnTo>
                  <a:pt x="566" y="575"/>
                </a:lnTo>
                <a:cubicBezTo>
                  <a:pt x="566" y="593"/>
                  <a:pt x="581" y="608"/>
                  <a:pt x="600" y="608"/>
                </a:cubicBezTo>
                <a:lnTo>
                  <a:pt x="633" y="608"/>
                </a:lnTo>
                <a:cubicBezTo>
                  <a:pt x="651" y="608"/>
                  <a:pt x="666" y="593"/>
                  <a:pt x="666" y="575"/>
                </a:cubicBezTo>
                <a:lnTo>
                  <a:pt x="666" y="536"/>
                </a:lnTo>
                <a:cubicBezTo>
                  <a:pt x="705" y="522"/>
                  <a:pt x="733" y="485"/>
                  <a:pt x="733" y="442"/>
                </a:cubicBezTo>
                <a:lnTo>
                  <a:pt x="733" y="375"/>
                </a:lnTo>
                <a:cubicBezTo>
                  <a:pt x="733" y="332"/>
                  <a:pt x="705" y="295"/>
                  <a:pt x="666" y="281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33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4" grpId="0"/>
      <p:bldP spid="20" grpId="0"/>
      <p:bldP spid="26" grpId="0" animBg="1"/>
      <p:bldP spid="27" grpId="0" animBg="1"/>
      <p:bldP spid="3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2977743" y="195297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A7C2910-7084-44D2-98EE-07380B763C50}"/>
              </a:ext>
            </a:extLst>
          </p:cNvPr>
          <p:cNvSpPr/>
          <p:nvPr/>
        </p:nvSpPr>
        <p:spPr>
          <a:xfrm>
            <a:off x="3703957" y="945909"/>
            <a:ext cx="5005943" cy="522534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>
              <a:lnSpc>
                <a:spcPct val="109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-   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Each car has different properties and attributes, some are static,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t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ype (SUV, Saloon, Sports)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w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idth and length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p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rice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b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rand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p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roduction year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highest speed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…</a:t>
            </a:r>
          </a:p>
          <a:p>
            <a:pPr lvl="1" algn="just">
              <a:lnSpc>
                <a:spcPct val="109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-   Some are dynamic and needs to updated during the program,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s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peed and acceleration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l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ocation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d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irection</a:t>
            </a:r>
          </a:p>
          <a:p>
            <a:pPr marL="800100" lvl="1" indent="-34290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…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90330" y="832390"/>
            <a:ext cx="3616996" cy="10341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4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1. An Example to Begin With</a:t>
            </a:r>
          </a:p>
        </p:txBody>
      </p:sp>
      <p:grpSp>
        <p:nvGrpSpPr>
          <p:cNvPr id="18" name="Car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flipH="1">
            <a:off x="9447043" y="4862679"/>
            <a:ext cx="1957067" cy="835040"/>
            <a:chOff x="8" y="8"/>
            <a:chExt cx="1057" cy="451"/>
          </a:xfrm>
          <a:solidFill>
            <a:schemeClr val="accent1"/>
          </a:solidFill>
        </p:grpSpPr>
        <p:sp>
          <p:nvSpPr>
            <p:cNvPr id="19" name="Car2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119" y="267"/>
              <a:ext cx="192" cy="192"/>
            </a:xfrm>
            <a:custGeom>
              <a:avLst/>
              <a:gdLst>
                <a:gd name="T0" fmla="*/ 113 w 227"/>
                <a:gd name="T1" fmla="*/ 0 h 226"/>
                <a:gd name="T2" fmla="*/ 0 w 227"/>
                <a:gd name="T3" fmla="*/ 113 h 226"/>
                <a:gd name="T4" fmla="*/ 113 w 227"/>
                <a:gd name="T5" fmla="*/ 226 h 226"/>
                <a:gd name="T6" fmla="*/ 227 w 227"/>
                <a:gd name="T7" fmla="*/ 113 h 226"/>
                <a:gd name="T8" fmla="*/ 113 w 227"/>
                <a:gd name="T9" fmla="*/ 0 h 226"/>
                <a:gd name="T10" fmla="*/ 113 w 227"/>
                <a:gd name="T11" fmla="*/ 174 h 226"/>
                <a:gd name="T12" fmla="*/ 52 w 227"/>
                <a:gd name="T13" fmla="*/ 113 h 226"/>
                <a:gd name="T14" fmla="*/ 113 w 227"/>
                <a:gd name="T15" fmla="*/ 52 h 226"/>
                <a:gd name="T16" fmla="*/ 174 w 227"/>
                <a:gd name="T17" fmla="*/ 113 h 226"/>
                <a:gd name="T18" fmla="*/ 113 w 227"/>
                <a:gd name="T19" fmla="*/ 17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6">
                  <a:moveTo>
                    <a:pt x="113" y="0"/>
                  </a:move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76" y="226"/>
                    <a:pt x="227" y="175"/>
                    <a:pt x="227" y="113"/>
                  </a:cubicBezTo>
                  <a:cubicBezTo>
                    <a:pt x="227" y="50"/>
                    <a:pt x="176" y="0"/>
                    <a:pt x="113" y="0"/>
                  </a:cubicBezTo>
                  <a:close/>
                  <a:moveTo>
                    <a:pt x="113" y="174"/>
                  </a:moveTo>
                  <a:cubicBezTo>
                    <a:pt x="80" y="174"/>
                    <a:pt x="52" y="147"/>
                    <a:pt x="52" y="113"/>
                  </a:cubicBezTo>
                  <a:cubicBezTo>
                    <a:pt x="52" y="79"/>
                    <a:pt x="80" y="52"/>
                    <a:pt x="113" y="52"/>
                  </a:cubicBezTo>
                  <a:cubicBezTo>
                    <a:pt x="147" y="52"/>
                    <a:pt x="174" y="79"/>
                    <a:pt x="174" y="113"/>
                  </a:cubicBezTo>
                  <a:cubicBezTo>
                    <a:pt x="174" y="147"/>
                    <a:pt x="147" y="174"/>
                    <a:pt x="113" y="1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ar2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764" y="267"/>
              <a:ext cx="192" cy="192"/>
            </a:xfrm>
            <a:custGeom>
              <a:avLst/>
              <a:gdLst>
                <a:gd name="T0" fmla="*/ 114 w 227"/>
                <a:gd name="T1" fmla="*/ 0 h 226"/>
                <a:gd name="T2" fmla="*/ 0 w 227"/>
                <a:gd name="T3" fmla="*/ 113 h 226"/>
                <a:gd name="T4" fmla="*/ 114 w 227"/>
                <a:gd name="T5" fmla="*/ 226 h 226"/>
                <a:gd name="T6" fmla="*/ 227 w 227"/>
                <a:gd name="T7" fmla="*/ 113 h 226"/>
                <a:gd name="T8" fmla="*/ 114 w 227"/>
                <a:gd name="T9" fmla="*/ 0 h 226"/>
                <a:gd name="T10" fmla="*/ 114 w 227"/>
                <a:gd name="T11" fmla="*/ 174 h 226"/>
                <a:gd name="T12" fmla="*/ 53 w 227"/>
                <a:gd name="T13" fmla="*/ 113 h 226"/>
                <a:gd name="T14" fmla="*/ 114 w 227"/>
                <a:gd name="T15" fmla="*/ 52 h 226"/>
                <a:gd name="T16" fmla="*/ 175 w 227"/>
                <a:gd name="T17" fmla="*/ 113 h 226"/>
                <a:gd name="T18" fmla="*/ 114 w 227"/>
                <a:gd name="T19" fmla="*/ 17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6">
                  <a:moveTo>
                    <a:pt x="114" y="0"/>
                  </a:move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4" y="226"/>
                  </a:cubicBezTo>
                  <a:cubicBezTo>
                    <a:pt x="176" y="226"/>
                    <a:pt x="227" y="175"/>
                    <a:pt x="227" y="113"/>
                  </a:cubicBezTo>
                  <a:cubicBezTo>
                    <a:pt x="227" y="50"/>
                    <a:pt x="176" y="0"/>
                    <a:pt x="114" y="0"/>
                  </a:cubicBezTo>
                  <a:close/>
                  <a:moveTo>
                    <a:pt x="114" y="174"/>
                  </a:moveTo>
                  <a:cubicBezTo>
                    <a:pt x="80" y="174"/>
                    <a:pt x="53" y="147"/>
                    <a:pt x="53" y="113"/>
                  </a:cubicBezTo>
                  <a:cubicBezTo>
                    <a:pt x="53" y="79"/>
                    <a:pt x="80" y="52"/>
                    <a:pt x="114" y="52"/>
                  </a:cubicBezTo>
                  <a:cubicBezTo>
                    <a:pt x="148" y="52"/>
                    <a:pt x="175" y="79"/>
                    <a:pt x="175" y="113"/>
                  </a:cubicBezTo>
                  <a:cubicBezTo>
                    <a:pt x="175" y="147"/>
                    <a:pt x="148" y="174"/>
                    <a:pt x="114" y="1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Car2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057" cy="355"/>
            </a:xfrm>
            <a:custGeom>
              <a:avLst/>
              <a:gdLst>
                <a:gd name="T0" fmla="*/ 1228 w 1250"/>
                <a:gd name="T1" fmla="*/ 334 h 419"/>
                <a:gd name="T2" fmla="*/ 1159 w 1250"/>
                <a:gd name="T3" fmla="*/ 211 h 419"/>
                <a:gd name="T4" fmla="*/ 884 w 1250"/>
                <a:gd name="T5" fmla="*/ 189 h 419"/>
                <a:gd name="T6" fmla="*/ 752 w 1250"/>
                <a:gd name="T7" fmla="*/ 0 h 419"/>
                <a:gd name="T8" fmla="*/ 375 w 1250"/>
                <a:gd name="T9" fmla="*/ 0 h 419"/>
                <a:gd name="T10" fmla="*/ 211 w 1250"/>
                <a:gd name="T11" fmla="*/ 193 h 419"/>
                <a:gd name="T12" fmla="*/ 111 w 1250"/>
                <a:gd name="T13" fmla="*/ 212 h 419"/>
                <a:gd name="T14" fmla="*/ 43 w 1250"/>
                <a:gd name="T15" fmla="*/ 356 h 419"/>
                <a:gd name="T16" fmla="*/ 0 w 1250"/>
                <a:gd name="T17" fmla="*/ 356 h 419"/>
                <a:gd name="T18" fmla="*/ 0 w 1250"/>
                <a:gd name="T19" fmla="*/ 419 h 419"/>
                <a:gd name="T20" fmla="*/ 105 w 1250"/>
                <a:gd name="T21" fmla="*/ 419 h 419"/>
                <a:gd name="T22" fmla="*/ 244 w 1250"/>
                <a:gd name="T23" fmla="*/ 279 h 419"/>
                <a:gd name="T24" fmla="*/ 384 w 1250"/>
                <a:gd name="T25" fmla="*/ 419 h 419"/>
                <a:gd name="T26" fmla="*/ 868 w 1250"/>
                <a:gd name="T27" fmla="*/ 419 h 419"/>
                <a:gd name="T28" fmla="*/ 1008 w 1250"/>
                <a:gd name="T29" fmla="*/ 279 h 419"/>
                <a:gd name="T30" fmla="*/ 1147 w 1250"/>
                <a:gd name="T31" fmla="*/ 419 h 419"/>
                <a:gd name="T32" fmla="*/ 1250 w 1250"/>
                <a:gd name="T33" fmla="*/ 419 h 419"/>
                <a:gd name="T34" fmla="*/ 1250 w 1250"/>
                <a:gd name="T35" fmla="*/ 334 h 419"/>
                <a:gd name="T36" fmla="*/ 1228 w 1250"/>
                <a:gd name="T37" fmla="*/ 334 h 419"/>
                <a:gd name="T38" fmla="*/ 559 w 1250"/>
                <a:gd name="T39" fmla="*/ 179 h 419"/>
                <a:gd name="T40" fmla="*/ 342 w 1250"/>
                <a:gd name="T41" fmla="*/ 179 h 419"/>
                <a:gd name="T42" fmla="*/ 449 w 1250"/>
                <a:gd name="T43" fmla="*/ 21 h 419"/>
                <a:gd name="T44" fmla="*/ 559 w 1250"/>
                <a:gd name="T45" fmla="*/ 21 h 419"/>
                <a:gd name="T46" fmla="*/ 559 w 1250"/>
                <a:gd name="T47" fmla="*/ 179 h 419"/>
                <a:gd name="T48" fmla="*/ 600 w 1250"/>
                <a:gd name="T49" fmla="*/ 179 h 419"/>
                <a:gd name="T50" fmla="*/ 600 w 1250"/>
                <a:gd name="T51" fmla="*/ 21 h 419"/>
                <a:gd name="T52" fmla="*/ 741 w 1250"/>
                <a:gd name="T53" fmla="*/ 21 h 419"/>
                <a:gd name="T54" fmla="*/ 852 w 1250"/>
                <a:gd name="T55" fmla="*/ 188 h 419"/>
                <a:gd name="T56" fmla="*/ 600 w 1250"/>
                <a:gd name="T57" fmla="*/ 1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50" h="419">
                  <a:moveTo>
                    <a:pt x="1228" y="334"/>
                  </a:moveTo>
                  <a:cubicBezTo>
                    <a:pt x="1228" y="224"/>
                    <a:pt x="1159" y="211"/>
                    <a:pt x="1159" y="211"/>
                  </a:cubicBezTo>
                  <a:cubicBezTo>
                    <a:pt x="1058" y="197"/>
                    <a:pt x="884" y="189"/>
                    <a:pt x="884" y="189"/>
                  </a:cubicBezTo>
                  <a:cubicBezTo>
                    <a:pt x="868" y="162"/>
                    <a:pt x="795" y="0"/>
                    <a:pt x="752" y="0"/>
                  </a:cubicBezTo>
                  <a:lnTo>
                    <a:pt x="375" y="0"/>
                  </a:lnTo>
                  <a:cubicBezTo>
                    <a:pt x="320" y="0"/>
                    <a:pt x="231" y="158"/>
                    <a:pt x="211" y="193"/>
                  </a:cubicBezTo>
                  <a:cubicBezTo>
                    <a:pt x="211" y="193"/>
                    <a:pt x="143" y="205"/>
                    <a:pt x="111" y="212"/>
                  </a:cubicBezTo>
                  <a:cubicBezTo>
                    <a:pt x="93" y="216"/>
                    <a:pt x="43" y="217"/>
                    <a:pt x="43" y="356"/>
                  </a:cubicBezTo>
                  <a:lnTo>
                    <a:pt x="0" y="356"/>
                  </a:lnTo>
                  <a:lnTo>
                    <a:pt x="0" y="419"/>
                  </a:lnTo>
                  <a:lnTo>
                    <a:pt x="105" y="419"/>
                  </a:lnTo>
                  <a:cubicBezTo>
                    <a:pt x="105" y="342"/>
                    <a:pt x="167" y="279"/>
                    <a:pt x="244" y="279"/>
                  </a:cubicBezTo>
                  <a:cubicBezTo>
                    <a:pt x="321" y="279"/>
                    <a:pt x="384" y="342"/>
                    <a:pt x="384" y="419"/>
                  </a:cubicBezTo>
                  <a:lnTo>
                    <a:pt x="868" y="419"/>
                  </a:lnTo>
                  <a:cubicBezTo>
                    <a:pt x="868" y="342"/>
                    <a:pt x="931" y="279"/>
                    <a:pt x="1008" y="279"/>
                  </a:cubicBezTo>
                  <a:cubicBezTo>
                    <a:pt x="1085" y="279"/>
                    <a:pt x="1147" y="342"/>
                    <a:pt x="1147" y="419"/>
                  </a:cubicBezTo>
                  <a:lnTo>
                    <a:pt x="1250" y="419"/>
                  </a:lnTo>
                  <a:lnTo>
                    <a:pt x="1250" y="334"/>
                  </a:lnTo>
                  <a:lnTo>
                    <a:pt x="1228" y="334"/>
                  </a:lnTo>
                  <a:close/>
                  <a:moveTo>
                    <a:pt x="559" y="179"/>
                  </a:moveTo>
                  <a:lnTo>
                    <a:pt x="342" y="179"/>
                  </a:lnTo>
                  <a:cubicBezTo>
                    <a:pt x="371" y="87"/>
                    <a:pt x="426" y="21"/>
                    <a:pt x="449" y="21"/>
                  </a:cubicBezTo>
                  <a:lnTo>
                    <a:pt x="559" y="21"/>
                  </a:lnTo>
                  <a:lnTo>
                    <a:pt x="559" y="179"/>
                  </a:lnTo>
                  <a:close/>
                  <a:moveTo>
                    <a:pt x="600" y="179"/>
                  </a:moveTo>
                  <a:lnTo>
                    <a:pt x="600" y="21"/>
                  </a:lnTo>
                  <a:lnTo>
                    <a:pt x="741" y="21"/>
                  </a:lnTo>
                  <a:cubicBezTo>
                    <a:pt x="770" y="21"/>
                    <a:pt x="834" y="154"/>
                    <a:pt x="852" y="188"/>
                  </a:cubicBezTo>
                  <a:lnTo>
                    <a:pt x="600" y="1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Car9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9447043" y="3228690"/>
            <a:ext cx="2576316" cy="606772"/>
          </a:xfrm>
          <a:custGeom>
            <a:avLst/>
            <a:gdLst>
              <a:gd name="connsiteX0" fmla="*/ 5971710 w 11316822"/>
              <a:gd name="connsiteY0" fmla="*/ 147636 h 2665329"/>
              <a:gd name="connsiteX1" fmla="*/ 5876460 w 11316822"/>
              <a:gd name="connsiteY1" fmla="*/ 817561 h 2665329"/>
              <a:gd name="connsiteX2" fmla="*/ 7157573 w 11316822"/>
              <a:gd name="connsiteY2" fmla="*/ 806449 h 2665329"/>
              <a:gd name="connsiteX3" fmla="*/ 6513048 w 11316822"/>
              <a:gd name="connsiteY3" fmla="*/ 165099 h 2665329"/>
              <a:gd name="connsiteX4" fmla="*/ 5863760 w 11316822"/>
              <a:gd name="connsiteY4" fmla="*/ 141287 h 2665329"/>
              <a:gd name="connsiteX5" fmla="*/ 4476466 w 11316822"/>
              <a:gd name="connsiteY5" fmla="*/ 143994 h 2665329"/>
              <a:gd name="connsiteX6" fmla="*/ 4258983 w 11316822"/>
              <a:gd name="connsiteY6" fmla="*/ 219789 h 2665329"/>
              <a:gd name="connsiteX7" fmla="*/ 3798353 w 11316822"/>
              <a:gd name="connsiteY7" fmla="*/ 705691 h 2665329"/>
              <a:gd name="connsiteX8" fmla="*/ 4072570 w 11316822"/>
              <a:gd name="connsiteY8" fmla="*/ 803142 h 2665329"/>
              <a:gd name="connsiteX9" fmla="*/ 5773255 w 11316822"/>
              <a:gd name="connsiteY9" fmla="*/ 815323 h 2665329"/>
              <a:gd name="connsiteX10" fmla="*/ 5773255 w 11316822"/>
              <a:gd name="connsiteY10" fmla="*/ 813970 h 2665329"/>
              <a:gd name="connsiteX11" fmla="*/ 5640258 w 11316822"/>
              <a:gd name="connsiteY11" fmla="*/ 0 h 2665329"/>
              <a:gd name="connsiteX12" fmla="*/ 7407681 w 11316822"/>
              <a:gd name="connsiteY12" fmla="*/ 102834 h 2665329"/>
              <a:gd name="connsiteX13" fmla="*/ 7414438 w 11316822"/>
              <a:gd name="connsiteY13" fmla="*/ 169135 h 2665329"/>
              <a:gd name="connsiteX14" fmla="*/ 8192752 w 11316822"/>
              <a:gd name="connsiteY14" fmla="*/ 767198 h 2665329"/>
              <a:gd name="connsiteX15" fmla="*/ 11051979 w 11316822"/>
              <a:gd name="connsiteY15" fmla="*/ 784788 h 2665329"/>
              <a:gd name="connsiteX16" fmla="*/ 10743896 w 11316822"/>
              <a:gd name="connsiteY16" fmla="*/ 1093291 h 2665329"/>
              <a:gd name="connsiteX17" fmla="*/ 11015495 w 11316822"/>
              <a:gd name="connsiteY17" fmla="*/ 1201538 h 2665329"/>
              <a:gd name="connsiteX18" fmla="*/ 11250611 w 11316822"/>
              <a:gd name="connsiteY18" fmla="*/ 1461330 h 2665329"/>
              <a:gd name="connsiteX19" fmla="*/ 11100623 w 11316822"/>
              <a:gd name="connsiteY19" fmla="*/ 1721122 h 2665329"/>
              <a:gd name="connsiteX20" fmla="*/ 11316822 w 11316822"/>
              <a:gd name="connsiteY20" fmla="*/ 1956558 h 2665329"/>
              <a:gd name="connsiteX21" fmla="*/ 10797945 w 11316822"/>
              <a:gd name="connsiteY21" fmla="*/ 1951146 h 2665329"/>
              <a:gd name="connsiteX22" fmla="*/ 10689846 w 11316822"/>
              <a:gd name="connsiteY22" fmla="*/ 2041802 h 2665329"/>
              <a:gd name="connsiteX23" fmla="*/ 10550668 w 11316822"/>
              <a:gd name="connsiteY23" fmla="*/ 2090513 h 2665329"/>
              <a:gd name="connsiteX24" fmla="*/ 8939989 w 11316822"/>
              <a:gd name="connsiteY24" fmla="*/ 2108103 h 2665329"/>
              <a:gd name="connsiteX25" fmla="*/ 8939989 w 11316822"/>
              <a:gd name="connsiteY25" fmla="*/ 2029624 h 2665329"/>
              <a:gd name="connsiteX26" fmla="*/ 8831889 w 11316822"/>
              <a:gd name="connsiteY26" fmla="*/ 2029624 h 2665329"/>
              <a:gd name="connsiteX27" fmla="*/ 8131946 w 11316822"/>
              <a:gd name="connsiteY27" fmla="*/ 2664220 h 2665329"/>
              <a:gd name="connsiteX28" fmla="*/ 7414438 w 11316822"/>
              <a:gd name="connsiteY28" fmla="*/ 2114869 h 2665329"/>
              <a:gd name="connsiteX29" fmla="*/ 7384710 w 11316822"/>
              <a:gd name="connsiteY29" fmla="*/ 2114869 h 2665329"/>
              <a:gd name="connsiteX30" fmla="*/ 7323905 w 11316822"/>
              <a:gd name="connsiteY30" fmla="*/ 2162227 h 2665329"/>
              <a:gd name="connsiteX31" fmla="*/ 7287421 w 11316822"/>
              <a:gd name="connsiteY31" fmla="*/ 2259649 h 2665329"/>
              <a:gd name="connsiteX32" fmla="*/ 2758061 w 11316822"/>
              <a:gd name="connsiteY32" fmla="*/ 2265061 h 2665329"/>
              <a:gd name="connsiteX33" fmla="*/ 2756709 w 11316822"/>
              <a:gd name="connsiteY33" fmla="*/ 2265061 h 2665329"/>
              <a:gd name="connsiteX34" fmla="*/ 2504027 w 11316822"/>
              <a:gd name="connsiteY34" fmla="*/ 2029624 h 2665329"/>
              <a:gd name="connsiteX35" fmla="*/ 2474300 w 11316822"/>
              <a:gd name="connsiteY35" fmla="*/ 2012034 h 2665329"/>
              <a:gd name="connsiteX36" fmla="*/ 2449978 w 11316822"/>
              <a:gd name="connsiteY36" fmla="*/ 2150049 h 2665329"/>
              <a:gd name="connsiteX37" fmla="*/ 1635179 w 11316822"/>
              <a:gd name="connsiteY37" fmla="*/ 2657455 h 2665329"/>
              <a:gd name="connsiteX38" fmla="*/ 929831 w 11316822"/>
              <a:gd name="connsiteY38" fmla="*/ 2078335 h 2665329"/>
              <a:gd name="connsiteX39" fmla="*/ 898753 w 11316822"/>
              <a:gd name="connsiteY39" fmla="*/ 2083748 h 2665329"/>
              <a:gd name="connsiteX40" fmla="*/ 820381 w 11316822"/>
              <a:gd name="connsiteY40" fmla="*/ 2125693 h 2665329"/>
              <a:gd name="connsiteX41" fmla="*/ 560942 w 11316822"/>
              <a:gd name="connsiteY41" fmla="*/ 2120281 h 2665329"/>
              <a:gd name="connsiteX42" fmla="*/ 428521 w 11316822"/>
              <a:gd name="connsiteY42" fmla="*/ 2066158 h 2665329"/>
              <a:gd name="connsiteX43" fmla="*/ 362310 w 11316822"/>
              <a:gd name="connsiteY43" fmla="*/ 1987679 h 2665329"/>
              <a:gd name="connsiteX44" fmla="*/ 290694 w 11316822"/>
              <a:gd name="connsiteY44" fmla="*/ 1945733 h 2665329"/>
              <a:gd name="connsiteX45" fmla="*/ 205566 w 11316822"/>
              <a:gd name="connsiteY45" fmla="*/ 1733299 h 2665329"/>
              <a:gd name="connsiteX46" fmla="*/ 177 w 11316822"/>
              <a:gd name="connsiteY46" fmla="*/ 1685941 h 2665329"/>
              <a:gd name="connsiteX47" fmla="*/ 115033 w 11316822"/>
              <a:gd name="connsiteY47" fmla="*/ 1642643 h 2665329"/>
              <a:gd name="connsiteX48" fmla="*/ 271777 w 11316822"/>
              <a:gd name="connsiteY48" fmla="*/ 1618287 h 2665329"/>
              <a:gd name="connsiteX49" fmla="*/ 254210 w 11316822"/>
              <a:gd name="connsiteY49" fmla="*/ 1583107 h 2665329"/>
              <a:gd name="connsiteX50" fmla="*/ 188000 w 11316822"/>
              <a:gd name="connsiteY50" fmla="*/ 1539808 h 2665329"/>
              <a:gd name="connsiteX51" fmla="*/ 115033 w 11316822"/>
              <a:gd name="connsiteY51" fmla="*/ 1382851 h 2665329"/>
              <a:gd name="connsiteX52" fmla="*/ 181243 w 11316822"/>
              <a:gd name="connsiteY52" fmla="*/ 1274604 h 2665329"/>
              <a:gd name="connsiteX53" fmla="*/ 127194 w 11316822"/>
              <a:gd name="connsiteY53" fmla="*/ 1142002 h 2665329"/>
              <a:gd name="connsiteX54" fmla="*/ 362310 w 11316822"/>
              <a:gd name="connsiteY54" fmla="*/ 1009400 h 2665329"/>
              <a:gd name="connsiteX55" fmla="*/ 754170 w 11316822"/>
              <a:gd name="connsiteY55" fmla="*/ 894388 h 2665329"/>
              <a:gd name="connsiteX56" fmla="*/ 1804084 w 11316822"/>
              <a:gd name="connsiteY56" fmla="*/ 851089 h 2665329"/>
              <a:gd name="connsiteX57" fmla="*/ 3216131 w 11316822"/>
              <a:gd name="connsiteY57" fmla="*/ 821321 h 2665329"/>
              <a:gd name="connsiteX58" fmla="*/ 3275586 w 11316822"/>
              <a:gd name="connsiteY58" fmla="*/ 761786 h 2665329"/>
              <a:gd name="connsiteX59" fmla="*/ 3390441 w 11316822"/>
              <a:gd name="connsiteY59" fmla="*/ 755020 h 2665329"/>
              <a:gd name="connsiteX60" fmla="*/ 3747169 w 11316822"/>
              <a:gd name="connsiteY60" fmla="*/ 470873 h 2665329"/>
              <a:gd name="connsiteX61" fmla="*/ 4410628 w 11316822"/>
              <a:gd name="connsiteY61" fmla="*/ 17590 h 2665329"/>
              <a:gd name="connsiteX62" fmla="*/ 5640258 w 11316822"/>
              <a:gd name="connsiteY62" fmla="*/ 0 h 2665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1316822" h="2665329">
                <a:moveTo>
                  <a:pt x="5971710" y="147636"/>
                </a:moveTo>
                <a:lnTo>
                  <a:pt x="5876460" y="817561"/>
                </a:lnTo>
                <a:lnTo>
                  <a:pt x="7157573" y="806449"/>
                </a:lnTo>
                <a:lnTo>
                  <a:pt x="6513048" y="165099"/>
                </a:lnTo>
                <a:close/>
                <a:moveTo>
                  <a:pt x="5863760" y="141287"/>
                </a:moveTo>
                <a:lnTo>
                  <a:pt x="4476466" y="143994"/>
                </a:lnTo>
                <a:lnTo>
                  <a:pt x="4258983" y="219789"/>
                </a:lnTo>
                <a:cubicBezTo>
                  <a:pt x="4258983" y="219789"/>
                  <a:pt x="3788897" y="590645"/>
                  <a:pt x="3798353" y="705691"/>
                </a:cubicBezTo>
                <a:cubicBezTo>
                  <a:pt x="3806458" y="820737"/>
                  <a:pt x="4072570" y="803142"/>
                  <a:pt x="4072570" y="803142"/>
                </a:cubicBezTo>
                <a:lnTo>
                  <a:pt x="5773255" y="815323"/>
                </a:lnTo>
                <a:lnTo>
                  <a:pt x="5773255" y="813970"/>
                </a:lnTo>
                <a:close/>
                <a:moveTo>
                  <a:pt x="5640258" y="0"/>
                </a:moveTo>
                <a:cubicBezTo>
                  <a:pt x="6406412" y="0"/>
                  <a:pt x="7407681" y="102834"/>
                  <a:pt x="7407681" y="102834"/>
                </a:cubicBezTo>
                <a:lnTo>
                  <a:pt x="7414438" y="169135"/>
                </a:lnTo>
                <a:lnTo>
                  <a:pt x="8192752" y="767198"/>
                </a:lnTo>
                <a:lnTo>
                  <a:pt x="11051979" y="784788"/>
                </a:lnTo>
                <a:lnTo>
                  <a:pt x="10743896" y="1093291"/>
                </a:lnTo>
                <a:lnTo>
                  <a:pt x="11015495" y="1201538"/>
                </a:lnTo>
                <a:cubicBezTo>
                  <a:pt x="11015495" y="1201538"/>
                  <a:pt x="11250611" y="1262427"/>
                  <a:pt x="11250611" y="1461330"/>
                </a:cubicBezTo>
                <a:cubicBezTo>
                  <a:pt x="11250611" y="1661586"/>
                  <a:pt x="11100623" y="1721122"/>
                  <a:pt x="11100623" y="1721122"/>
                </a:cubicBezTo>
                <a:lnTo>
                  <a:pt x="11316822" y="1956558"/>
                </a:lnTo>
                <a:lnTo>
                  <a:pt x="10797945" y="1951146"/>
                </a:lnTo>
                <a:cubicBezTo>
                  <a:pt x="10797945" y="1951146"/>
                  <a:pt x="10762813" y="1987679"/>
                  <a:pt x="10689846" y="2041802"/>
                </a:cubicBezTo>
                <a:cubicBezTo>
                  <a:pt x="10616879" y="2095926"/>
                  <a:pt x="10581747" y="2090513"/>
                  <a:pt x="10550668" y="2090513"/>
                </a:cubicBezTo>
                <a:cubicBezTo>
                  <a:pt x="10520941" y="2090513"/>
                  <a:pt x="8939989" y="2108103"/>
                  <a:pt x="8939989" y="2108103"/>
                </a:cubicBezTo>
                <a:lnTo>
                  <a:pt x="8939989" y="2029624"/>
                </a:lnTo>
                <a:lnTo>
                  <a:pt x="8831889" y="2029624"/>
                </a:lnTo>
                <a:cubicBezTo>
                  <a:pt x="8831889" y="2029624"/>
                  <a:pt x="8885939" y="2631746"/>
                  <a:pt x="8131946" y="2664220"/>
                </a:cubicBezTo>
                <a:cubicBezTo>
                  <a:pt x="7414438" y="2693988"/>
                  <a:pt x="7414438" y="2114869"/>
                  <a:pt x="7414438" y="2114869"/>
                </a:cubicBezTo>
                <a:lnTo>
                  <a:pt x="7384710" y="2114869"/>
                </a:lnTo>
                <a:cubicBezTo>
                  <a:pt x="7384710" y="2114869"/>
                  <a:pt x="7353632" y="2125693"/>
                  <a:pt x="7323905" y="2162227"/>
                </a:cubicBezTo>
                <a:cubicBezTo>
                  <a:pt x="7294177" y="2198760"/>
                  <a:pt x="7287421" y="2259649"/>
                  <a:pt x="7287421" y="2259649"/>
                </a:cubicBezTo>
                <a:lnTo>
                  <a:pt x="2758061" y="2265061"/>
                </a:lnTo>
                <a:lnTo>
                  <a:pt x="2756709" y="2265061"/>
                </a:lnTo>
                <a:lnTo>
                  <a:pt x="2504027" y="2029624"/>
                </a:lnTo>
                <a:lnTo>
                  <a:pt x="2474300" y="2012034"/>
                </a:lnTo>
                <a:lnTo>
                  <a:pt x="2449978" y="2150049"/>
                </a:lnTo>
                <a:cubicBezTo>
                  <a:pt x="2449978" y="2150049"/>
                  <a:pt x="2298639" y="2645277"/>
                  <a:pt x="1635179" y="2657455"/>
                </a:cubicBezTo>
                <a:cubicBezTo>
                  <a:pt x="971720" y="2669633"/>
                  <a:pt x="929831" y="2078335"/>
                  <a:pt x="929831" y="2078335"/>
                </a:cubicBezTo>
                <a:cubicBezTo>
                  <a:pt x="929831" y="2078335"/>
                  <a:pt x="923075" y="2083748"/>
                  <a:pt x="898753" y="2083748"/>
                </a:cubicBezTo>
                <a:cubicBezTo>
                  <a:pt x="875781" y="2083748"/>
                  <a:pt x="820381" y="2125693"/>
                  <a:pt x="820381" y="2125693"/>
                </a:cubicBezTo>
                <a:cubicBezTo>
                  <a:pt x="820381" y="2125693"/>
                  <a:pt x="609587" y="2125693"/>
                  <a:pt x="560942" y="2120281"/>
                </a:cubicBezTo>
                <a:cubicBezTo>
                  <a:pt x="513649" y="2114869"/>
                  <a:pt x="482570" y="2108103"/>
                  <a:pt x="428521" y="2066158"/>
                </a:cubicBezTo>
                <a:cubicBezTo>
                  <a:pt x="374471" y="2024212"/>
                  <a:pt x="362310" y="1987679"/>
                  <a:pt x="362310" y="1987679"/>
                </a:cubicBezTo>
                <a:cubicBezTo>
                  <a:pt x="362310" y="1987679"/>
                  <a:pt x="350149" y="2005269"/>
                  <a:pt x="290694" y="1945733"/>
                </a:cubicBezTo>
                <a:cubicBezTo>
                  <a:pt x="229888" y="1884845"/>
                  <a:pt x="205566" y="1733299"/>
                  <a:pt x="205566" y="1733299"/>
                </a:cubicBezTo>
                <a:cubicBezTo>
                  <a:pt x="205566" y="1733299"/>
                  <a:pt x="6933" y="1721122"/>
                  <a:pt x="177" y="1685941"/>
                </a:cubicBezTo>
                <a:cubicBezTo>
                  <a:pt x="-5228" y="1649408"/>
                  <a:pt x="115033" y="1642643"/>
                  <a:pt x="115033" y="1642643"/>
                </a:cubicBezTo>
                <a:lnTo>
                  <a:pt x="271777" y="1618287"/>
                </a:lnTo>
                <a:lnTo>
                  <a:pt x="254210" y="1583107"/>
                </a:lnTo>
                <a:lnTo>
                  <a:pt x="188000" y="1539808"/>
                </a:lnTo>
                <a:cubicBezTo>
                  <a:pt x="188000" y="1539808"/>
                  <a:pt x="115033" y="1443740"/>
                  <a:pt x="115033" y="1382851"/>
                </a:cubicBezTo>
                <a:cubicBezTo>
                  <a:pt x="115033" y="1323315"/>
                  <a:pt x="156921" y="1292194"/>
                  <a:pt x="181243" y="1274604"/>
                </a:cubicBezTo>
                <a:cubicBezTo>
                  <a:pt x="205566" y="1257014"/>
                  <a:pt x="127194" y="1189360"/>
                  <a:pt x="127194" y="1142002"/>
                </a:cubicBezTo>
                <a:cubicBezTo>
                  <a:pt x="127194" y="1093291"/>
                  <a:pt x="259615" y="1044580"/>
                  <a:pt x="362310" y="1009400"/>
                </a:cubicBezTo>
                <a:cubicBezTo>
                  <a:pt x="465004" y="972867"/>
                  <a:pt x="754170" y="894388"/>
                  <a:pt x="754170" y="894388"/>
                </a:cubicBezTo>
                <a:cubicBezTo>
                  <a:pt x="754170" y="894388"/>
                  <a:pt x="1327096" y="870032"/>
                  <a:pt x="1804084" y="851089"/>
                </a:cubicBezTo>
                <a:cubicBezTo>
                  <a:pt x="2281072" y="833499"/>
                  <a:pt x="3216131" y="821321"/>
                  <a:pt x="3216131" y="821321"/>
                </a:cubicBezTo>
                <a:lnTo>
                  <a:pt x="3275586" y="761786"/>
                </a:lnTo>
                <a:lnTo>
                  <a:pt x="3390441" y="755020"/>
                </a:lnTo>
                <a:cubicBezTo>
                  <a:pt x="3390441" y="755020"/>
                  <a:pt x="3505297" y="676542"/>
                  <a:pt x="3747169" y="470873"/>
                </a:cubicBezTo>
                <a:cubicBezTo>
                  <a:pt x="3987690" y="265204"/>
                  <a:pt x="4410628" y="17590"/>
                  <a:pt x="4410628" y="17590"/>
                </a:cubicBezTo>
                <a:cubicBezTo>
                  <a:pt x="4410628" y="17590"/>
                  <a:pt x="4874104" y="0"/>
                  <a:pt x="5640258" y="0"/>
                </a:cubicBezTo>
                <a:close/>
              </a:path>
            </a:pathLst>
          </a:custGeom>
          <a:solidFill>
            <a:schemeClr val="accent1"/>
          </a:solidFill>
          <a:ln w="174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ar8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 flipH="1">
            <a:off x="571903" y="3091050"/>
            <a:ext cx="2188946" cy="744412"/>
          </a:xfrm>
          <a:custGeom>
            <a:avLst/>
            <a:gdLst>
              <a:gd name="T0" fmla="*/ 7649 w 12845"/>
              <a:gd name="T1" fmla="*/ 35 h 4360"/>
              <a:gd name="T2" fmla="*/ 7593 w 12845"/>
              <a:gd name="T3" fmla="*/ 36 h 4360"/>
              <a:gd name="T4" fmla="*/ 5458 w 12845"/>
              <a:gd name="T5" fmla="*/ 199 h 4360"/>
              <a:gd name="T6" fmla="*/ 3929 w 12845"/>
              <a:gd name="T7" fmla="*/ 1191 h 4360"/>
              <a:gd name="T8" fmla="*/ 1778 w 12845"/>
              <a:gd name="T9" fmla="*/ 1588 h 4360"/>
              <a:gd name="T10" fmla="*/ 475 w 12845"/>
              <a:gd name="T11" fmla="*/ 2018 h 4360"/>
              <a:gd name="T12" fmla="*/ 25 w 12845"/>
              <a:gd name="T13" fmla="*/ 3103 h 4360"/>
              <a:gd name="T14" fmla="*/ 471 w 12845"/>
              <a:gd name="T15" fmla="*/ 3806 h 4360"/>
              <a:gd name="T16" fmla="*/ 1204 w 12845"/>
              <a:gd name="T17" fmla="*/ 3806 h 4360"/>
              <a:gd name="T18" fmla="*/ 2317 w 12845"/>
              <a:gd name="T19" fmla="*/ 2553 h 4360"/>
              <a:gd name="T20" fmla="*/ 3387 w 12845"/>
              <a:gd name="T21" fmla="*/ 3806 h 4360"/>
              <a:gd name="T22" fmla="*/ 8964 w 12845"/>
              <a:gd name="T23" fmla="*/ 3806 h 4360"/>
              <a:gd name="T24" fmla="*/ 10032 w 12845"/>
              <a:gd name="T25" fmla="*/ 2540 h 4360"/>
              <a:gd name="T26" fmla="*/ 11130 w 12845"/>
              <a:gd name="T27" fmla="*/ 3806 h 4360"/>
              <a:gd name="T28" fmla="*/ 12230 w 12845"/>
              <a:gd name="T29" fmla="*/ 3806 h 4360"/>
              <a:gd name="T30" fmla="*/ 12740 w 12845"/>
              <a:gd name="T31" fmla="*/ 3301 h 4360"/>
              <a:gd name="T32" fmla="*/ 12403 w 12845"/>
              <a:gd name="T33" fmla="*/ 1682 h 4360"/>
              <a:gd name="T34" fmla="*/ 11626 w 12845"/>
              <a:gd name="T35" fmla="*/ 1451 h 4360"/>
              <a:gd name="T36" fmla="*/ 9840 w 12845"/>
              <a:gd name="T37" fmla="*/ 379 h 4360"/>
              <a:gd name="T38" fmla="*/ 7649 w 12845"/>
              <a:gd name="T39" fmla="*/ 35 h 4360"/>
              <a:gd name="T40" fmla="*/ 10078 w 12845"/>
              <a:gd name="T41" fmla="*/ 2663 h 4360"/>
              <a:gd name="T42" fmla="*/ 9205 w 12845"/>
              <a:gd name="T43" fmla="*/ 3512 h 4360"/>
              <a:gd name="T44" fmla="*/ 10053 w 12845"/>
              <a:gd name="T45" fmla="*/ 4360 h 4360"/>
              <a:gd name="T46" fmla="*/ 10902 w 12845"/>
              <a:gd name="T47" fmla="*/ 3512 h 4360"/>
              <a:gd name="T48" fmla="*/ 10078 w 12845"/>
              <a:gd name="T49" fmla="*/ 2663 h 4360"/>
              <a:gd name="T50" fmla="*/ 2329 w 12845"/>
              <a:gd name="T51" fmla="*/ 2664 h 4360"/>
              <a:gd name="T52" fmla="*/ 1457 w 12845"/>
              <a:gd name="T53" fmla="*/ 3512 h 4360"/>
              <a:gd name="T54" fmla="*/ 2305 w 12845"/>
              <a:gd name="T55" fmla="*/ 4360 h 4360"/>
              <a:gd name="T56" fmla="*/ 3153 w 12845"/>
              <a:gd name="T57" fmla="*/ 3512 h 4360"/>
              <a:gd name="T58" fmla="*/ 2329 w 12845"/>
              <a:gd name="T59" fmla="*/ 2664 h 4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845" h="4360">
                <a:moveTo>
                  <a:pt x="7649" y="35"/>
                </a:moveTo>
                <a:cubicBezTo>
                  <a:pt x="7630" y="36"/>
                  <a:pt x="7611" y="36"/>
                  <a:pt x="7593" y="36"/>
                </a:cubicBezTo>
                <a:cubicBezTo>
                  <a:pt x="7020" y="55"/>
                  <a:pt x="5920" y="0"/>
                  <a:pt x="5458" y="199"/>
                </a:cubicBezTo>
                <a:cubicBezTo>
                  <a:pt x="5458" y="199"/>
                  <a:pt x="4327" y="902"/>
                  <a:pt x="3929" y="1191"/>
                </a:cubicBezTo>
                <a:cubicBezTo>
                  <a:pt x="3530" y="1479"/>
                  <a:pt x="2718" y="1479"/>
                  <a:pt x="1778" y="1588"/>
                </a:cubicBezTo>
                <a:cubicBezTo>
                  <a:pt x="838" y="1696"/>
                  <a:pt x="475" y="2018"/>
                  <a:pt x="475" y="2018"/>
                </a:cubicBezTo>
                <a:cubicBezTo>
                  <a:pt x="211" y="2371"/>
                  <a:pt x="70" y="2619"/>
                  <a:pt x="25" y="3103"/>
                </a:cubicBezTo>
                <a:cubicBezTo>
                  <a:pt x="0" y="3228"/>
                  <a:pt x="473" y="3422"/>
                  <a:pt x="471" y="3806"/>
                </a:cubicBezTo>
                <a:lnTo>
                  <a:pt x="1204" y="3806"/>
                </a:lnTo>
                <a:cubicBezTo>
                  <a:pt x="1204" y="3806"/>
                  <a:pt x="1297" y="2535"/>
                  <a:pt x="2317" y="2553"/>
                </a:cubicBezTo>
                <a:cubicBezTo>
                  <a:pt x="3337" y="2571"/>
                  <a:pt x="3387" y="3806"/>
                  <a:pt x="3387" y="3806"/>
                </a:cubicBezTo>
                <a:lnTo>
                  <a:pt x="8964" y="3806"/>
                </a:lnTo>
                <a:cubicBezTo>
                  <a:pt x="8964" y="3806"/>
                  <a:pt x="9107" y="2576"/>
                  <a:pt x="10032" y="2540"/>
                </a:cubicBezTo>
                <a:cubicBezTo>
                  <a:pt x="10955" y="2503"/>
                  <a:pt x="11130" y="3806"/>
                  <a:pt x="11130" y="3806"/>
                </a:cubicBezTo>
                <a:cubicBezTo>
                  <a:pt x="11130" y="3806"/>
                  <a:pt x="11959" y="3787"/>
                  <a:pt x="12230" y="3806"/>
                </a:cubicBezTo>
                <a:cubicBezTo>
                  <a:pt x="12512" y="3818"/>
                  <a:pt x="12446" y="3400"/>
                  <a:pt x="12740" y="3301"/>
                </a:cubicBezTo>
                <a:cubicBezTo>
                  <a:pt x="12845" y="2401"/>
                  <a:pt x="12591" y="2498"/>
                  <a:pt x="12403" y="1682"/>
                </a:cubicBezTo>
                <a:cubicBezTo>
                  <a:pt x="11972" y="1520"/>
                  <a:pt x="11880" y="1541"/>
                  <a:pt x="11626" y="1451"/>
                </a:cubicBezTo>
                <a:cubicBezTo>
                  <a:pt x="11439" y="1386"/>
                  <a:pt x="10297" y="593"/>
                  <a:pt x="9840" y="379"/>
                </a:cubicBezTo>
                <a:cubicBezTo>
                  <a:pt x="9398" y="173"/>
                  <a:pt x="8242" y="28"/>
                  <a:pt x="7649" y="35"/>
                </a:cubicBezTo>
                <a:close/>
                <a:moveTo>
                  <a:pt x="10078" y="2663"/>
                </a:moveTo>
                <a:cubicBezTo>
                  <a:pt x="9600" y="2650"/>
                  <a:pt x="9205" y="3034"/>
                  <a:pt x="9205" y="3512"/>
                </a:cubicBezTo>
                <a:cubicBezTo>
                  <a:pt x="9206" y="3980"/>
                  <a:pt x="9585" y="4360"/>
                  <a:pt x="10053" y="4360"/>
                </a:cubicBezTo>
                <a:cubicBezTo>
                  <a:pt x="10522" y="4360"/>
                  <a:pt x="10901" y="3980"/>
                  <a:pt x="10902" y="3512"/>
                </a:cubicBezTo>
                <a:cubicBezTo>
                  <a:pt x="10902" y="3053"/>
                  <a:pt x="10537" y="2677"/>
                  <a:pt x="10078" y="2663"/>
                </a:cubicBezTo>
                <a:close/>
                <a:moveTo>
                  <a:pt x="2329" y="2664"/>
                </a:moveTo>
                <a:cubicBezTo>
                  <a:pt x="1851" y="2650"/>
                  <a:pt x="1456" y="3034"/>
                  <a:pt x="1457" y="3512"/>
                </a:cubicBezTo>
                <a:cubicBezTo>
                  <a:pt x="1457" y="3980"/>
                  <a:pt x="1836" y="4360"/>
                  <a:pt x="2305" y="4360"/>
                </a:cubicBezTo>
                <a:cubicBezTo>
                  <a:pt x="2773" y="4360"/>
                  <a:pt x="3153" y="3980"/>
                  <a:pt x="3153" y="3512"/>
                </a:cubicBezTo>
                <a:cubicBezTo>
                  <a:pt x="3153" y="3053"/>
                  <a:pt x="2788" y="2677"/>
                  <a:pt x="2329" y="26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2" name="Car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 flipH="1">
            <a:off x="571903" y="4991867"/>
            <a:ext cx="2292529" cy="886789"/>
            <a:chOff x="8" y="7"/>
            <a:chExt cx="1153" cy="446"/>
          </a:xfrm>
          <a:solidFill>
            <a:schemeClr val="accent1"/>
          </a:solidFill>
        </p:grpSpPr>
        <p:sp>
          <p:nvSpPr>
            <p:cNvPr id="34" name="Car4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8" y="7"/>
              <a:ext cx="1153" cy="355"/>
            </a:xfrm>
            <a:custGeom>
              <a:avLst/>
              <a:gdLst>
                <a:gd name="T0" fmla="*/ 1249 w 1250"/>
                <a:gd name="T1" fmla="*/ 200 h 384"/>
                <a:gd name="T2" fmla="*/ 1245 w 1250"/>
                <a:gd name="T3" fmla="*/ 187 h 384"/>
                <a:gd name="T4" fmla="*/ 1010 w 1250"/>
                <a:gd name="T5" fmla="*/ 1 h 384"/>
                <a:gd name="T6" fmla="*/ 538 w 1250"/>
                <a:gd name="T7" fmla="*/ 1 h 384"/>
                <a:gd name="T8" fmla="*/ 516 w 1250"/>
                <a:gd name="T9" fmla="*/ 12 h 384"/>
                <a:gd name="T10" fmla="*/ 358 w 1250"/>
                <a:gd name="T11" fmla="*/ 170 h 384"/>
                <a:gd name="T12" fmla="*/ 13 w 1250"/>
                <a:gd name="T13" fmla="*/ 227 h 384"/>
                <a:gd name="T14" fmla="*/ 0 w 1250"/>
                <a:gd name="T15" fmla="*/ 246 h 384"/>
                <a:gd name="T16" fmla="*/ 1 w 1250"/>
                <a:gd name="T17" fmla="*/ 365 h 384"/>
                <a:gd name="T18" fmla="*/ 19 w 1250"/>
                <a:gd name="T19" fmla="*/ 384 h 384"/>
                <a:gd name="T20" fmla="*/ 85 w 1250"/>
                <a:gd name="T21" fmla="*/ 384 h 384"/>
                <a:gd name="T22" fmla="*/ 326 w 1250"/>
                <a:gd name="T23" fmla="*/ 384 h 384"/>
                <a:gd name="T24" fmla="*/ 938 w 1250"/>
                <a:gd name="T25" fmla="*/ 384 h 384"/>
                <a:gd name="T26" fmla="*/ 1177 w 1250"/>
                <a:gd name="T27" fmla="*/ 384 h 384"/>
                <a:gd name="T28" fmla="*/ 1231 w 1250"/>
                <a:gd name="T29" fmla="*/ 384 h 384"/>
                <a:gd name="T30" fmla="*/ 1250 w 1250"/>
                <a:gd name="T31" fmla="*/ 365 h 384"/>
                <a:gd name="T32" fmla="*/ 1249 w 1250"/>
                <a:gd name="T33" fmla="*/ 200 h 384"/>
                <a:gd name="T34" fmla="*/ 743 w 1250"/>
                <a:gd name="T35" fmla="*/ 193 h 384"/>
                <a:gd name="T36" fmla="*/ 416 w 1250"/>
                <a:gd name="T37" fmla="*/ 193 h 384"/>
                <a:gd name="T38" fmla="*/ 407 w 1250"/>
                <a:gd name="T39" fmla="*/ 171 h 384"/>
                <a:gd name="T40" fmla="*/ 524 w 1250"/>
                <a:gd name="T41" fmla="*/ 55 h 384"/>
                <a:gd name="T42" fmla="*/ 534 w 1250"/>
                <a:gd name="T43" fmla="*/ 51 h 384"/>
                <a:gd name="T44" fmla="*/ 743 w 1250"/>
                <a:gd name="T45" fmla="*/ 51 h 384"/>
                <a:gd name="T46" fmla="*/ 743 w 1250"/>
                <a:gd name="T47" fmla="*/ 193 h 384"/>
                <a:gd name="T48" fmla="*/ 1081 w 1250"/>
                <a:gd name="T49" fmla="*/ 193 h 384"/>
                <a:gd name="T50" fmla="*/ 781 w 1250"/>
                <a:gd name="T51" fmla="*/ 193 h 384"/>
                <a:gd name="T52" fmla="*/ 781 w 1250"/>
                <a:gd name="T53" fmla="*/ 51 h 384"/>
                <a:gd name="T54" fmla="*/ 957 w 1250"/>
                <a:gd name="T55" fmla="*/ 51 h 384"/>
                <a:gd name="T56" fmla="*/ 967 w 1250"/>
                <a:gd name="T57" fmla="*/ 55 h 384"/>
                <a:gd name="T58" fmla="*/ 1067 w 1250"/>
                <a:gd name="T59" fmla="*/ 157 h 384"/>
                <a:gd name="T60" fmla="*/ 1081 w 1250"/>
                <a:gd name="T61" fmla="*/ 193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50" h="384">
                  <a:moveTo>
                    <a:pt x="1249" y="200"/>
                  </a:moveTo>
                  <a:cubicBezTo>
                    <a:pt x="1248" y="197"/>
                    <a:pt x="1247" y="193"/>
                    <a:pt x="1245" y="187"/>
                  </a:cubicBezTo>
                  <a:lnTo>
                    <a:pt x="1010" y="1"/>
                  </a:lnTo>
                  <a:lnTo>
                    <a:pt x="538" y="1"/>
                  </a:lnTo>
                  <a:cubicBezTo>
                    <a:pt x="527" y="0"/>
                    <a:pt x="521" y="6"/>
                    <a:pt x="516" y="12"/>
                  </a:cubicBezTo>
                  <a:lnTo>
                    <a:pt x="358" y="170"/>
                  </a:lnTo>
                  <a:lnTo>
                    <a:pt x="13" y="227"/>
                  </a:lnTo>
                  <a:cubicBezTo>
                    <a:pt x="9" y="231"/>
                    <a:pt x="4" y="235"/>
                    <a:pt x="0" y="246"/>
                  </a:cubicBezTo>
                  <a:lnTo>
                    <a:pt x="1" y="365"/>
                  </a:lnTo>
                  <a:cubicBezTo>
                    <a:pt x="8" y="384"/>
                    <a:pt x="13" y="381"/>
                    <a:pt x="19" y="384"/>
                  </a:cubicBezTo>
                  <a:lnTo>
                    <a:pt x="85" y="384"/>
                  </a:lnTo>
                  <a:cubicBezTo>
                    <a:pt x="85" y="223"/>
                    <a:pt x="326" y="223"/>
                    <a:pt x="326" y="384"/>
                  </a:cubicBezTo>
                  <a:lnTo>
                    <a:pt x="938" y="384"/>
                  </a:lnTo>
                  <a:cubicBezTo>
                    <a:pt x="938" y="222"/>
                    <a:pt x="1177" y="223"/>
                    <a:pt x="1177" y="384"/>
                  </a:cubicBezTo>
                  <a:lnTo>
                    <a:pt x="1231" y="384"/>
                  </a:lnTo>
                  <a:cubicBezTo>
                    <a:pt x="1241" y="383"/>
                    <a:pt x="1246" y="375"/>
                    <a:pt x="1250" y="365"/>
                  </a:cubicBezTo>
                  <a:lnTo>
                    <a:pt x="1249" y="200"/>
                  </a:lnTo>
                  <a:close/>
                  <a:moveTo>
                    <a:pt x="743" y="193"/>
                  </a:moveTo>
                  <a:lnTo>
                    <a:pt x="416" y="193"/>
                  </a:lnTo>
                  <a:cubicBezTo>
                    <a:pt x="403" y="188"/>
                    <a:pt x="402" y="180"/>
                    <a:pt x="407" y="171"/>
                  </a:cubicBezTo>
                  <a:lnTo>
                    <a:pt x="524" y="55"/>
                  </a:lnTo>
                  <a:cubicBezTo>
                    <a:pt x="527" y="53"/>
                    <a:pt x="529" y="50"/>
                    <a:pt x="534" y="51"/>
                  </a:cubicBezTo>
                  <a:lnTo>
                    <a:pt x="743" y="51"/>
                  </a:lnTo>
                  <a:lnTo>
                    <a:pt x="743" y="193"/>
                  </a:lnTo>
                  <a:close/>
                  <a:moveTo>
                    <a:pt x="1081" y="193"/>
                  </a:moveTo>
                  <a:lnTo>
                    <a:pt x="781" y="193"/>
                  </a:lnTo>
                  <a:lnTo>
                    <a:pt x="781" y="51"/>
                  </a:lnTo>
                  <a:lnTo>
                    <a:pt x="957" y="51"/>
                  </a:lnTo>
                  <a:cubicBezTo>
                    <a:pt x="962" y="50"/>
                    <a:pt x="964" y="53"/>
                    <a:pt x="967" y="55"/>
                  </a:cubicBezTo>
                  <a:lnTo>
                    <a:pt x="1067" y="157"/>
                  </a:lnTo>
                  <a:cubicBezTo>
                    <a:pt x="1077" y="171"/>
                    <a:pt x="1095" y="190"/>
                    <a:pt x="1081" y="1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Car4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107" y="272"/>
              <a:ext cx="180" cy="181"/>
            </a:xfrm>
            <a:custGeom>
              <a:avLst/>
              <a:gdLst>
                <a:gd name="T0" fmla="*/ 98 w 196"/>
                <a:gd name="T1" fmla="*/ 0 h 195"/>
                <a:gd name="T2" fmla="*/ 0 w 196"/>
                <a:gd name="T3" fmla="*/ 97 h 195"/>
                <a:gd name="T4" fmla="*/ 98 w 196"/>
                <a:gd name="T5" fmla="*/ 195 h 195"/>
                <a:gd name="T6" fmla="*/ 196 w 196"/>
                <a:gd name="T7" fmla="*/ 97 h 195"/>
                <a:gd name="T8" fmla="*/ 98 w 196"/>
                <a:gd name="T9" fmla="*/ 0 h 195"/>
                <a:gd name="T10" fmla="*/ 98 w 196"/>
                <a:gd name="T11" fmla="*/ 138 h 195"/>
                <a:gd name="T12" fmla="*/ 57 w 196"/>
                <a:gd name="T13" fmla="*/ 97 h 195"/>
                <a:gd name="T14" fmla="*/ 98 w 196"/>
                <a:gd name="T15" fmla="*/ 56 h 195"/>
                <a:gd name="T16" fmla="*/ 139 w 196"/>
                <a:gd name="T17" fmla="*/ 97 h 195"/>
                <a:gd name="T18" fmla="*/ 98 w 196"/>
                <a:gd name="T19" fmla="*/ 13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0"/>
                  </a:moveTo>
                  <a:cubicBezTo>
                    <a:pt x="44" y="0"/>
                    <a:pt x="0" y="43"/>
                    <a:pt x="0" y="97"/>
                  </a:cubicBezTo>
                  <a:cubicBezTo>
                    <a:pt x="0" y="151"/>
                    <a:pt x="44" y="195"/>
                    <a:pt x="98" y="195"/>
                  </a:cubicBezTo>
                  <a:cubicBezTo>
                    <a:pt x="152" y="195"/>
                    <a:pt x="196" y="151"/>
                    <a:pt x="196" y="97"/>
                  </a:cubicBezTo>
                  <a:cubicBezTo>
                    <a:pt x="196" y="43"/>
                    <a:pt x="152" y="0"/>
                    <a:pt x="98" y="0"/>
                  </a:cubicBezTo>
                  <a:close/>
                  <a:moveTo>
                    <a:pt x="98" y="138"/>
                  </a:moveTo>
                  <a:cubicBezTo>
                    <a:pt x="75" y="138"/>
                    <a:pt x="57" y="120"/>
                    <a:pt x="57" y="97"/>
                  </a:cubicBezTo>
                  <a:cubicBezTo>
                    <a:pt x="57" y="74"/>
                    <a:pt x="75" y="56"/>
                    <a:pt x="98" y="56"/>
                  </a:cubicBezTo>
                  <a:cubicBezTo>
                    <a:pt x="121" y="56"/>
                    <a:pt x="139" y="74"/>
                    <a:pt x="139" y="97"/>
                  </a:cubicBezTo>
                  <a:cubicBezTo>
                    <a:pt x="139" y="120"/>
                    <a:pt x="121" y="138"/>
                    <a:pt x="98" y="13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Car4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93" y="271"/>
              <a:ext cx="180" cy="182"/>
            </a:xfrm>
            <a:custGeom>
              <a:avLst/>
              <a:gdLst>
                <a:gd name="T0" fmla="*/ 98 w 195"/>
                <a:gd name="T1" fmla="*/ 0 h 196"/>
                <a:gd name="T2" fmla="*/ 0 w 195"/>
                <a:gd name="T3" fmla="*/ 98 h 196"/>
                <a:gd name="T4" fmla="*/ 98 w 195"/>
                <a:gd name="T5" fmla="*/ 196 h 196"/>
                <a:gd name="T6" fmla="*/ 195 w 195"/>
                <a:gd name="T7" fmla="*/ 98 h 196"/>
                <a:gd name="T8" fmla="*/ 98 w 195"/>
                <a:gd name="T9" fmla="*/ 0 h 196"/>
                <a:gd name="T10" fmla="*/ 98 w 195"/>
                <a:gd name="T11" fmla="*/ 139 h 196"/>
                <a:gd name="T12" fmla="*/ 57 w 195"/>
                <a:gd name="T13" fmla="*/ 98 h 196"/>
                <a:gd name="T14" fmla="*/ 98 w 195"/>
                <a:gd name="T15" fmla="*/ 57 h 196"/>
                <a:gd name="T16" fmla="*/ 139 w 195"/>
                <a:gd name="T17" fmla="*/ 98 h 196"/>
                <a:gd name="T18" fmla="*/ 98 w 195"/>
                <a:gd name="T19" fmla="*/ 13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6">
                  <a:moveTo>
                    <a:pt x="98" y="0"/>
                  </a:moveTo>
                  <a:cubicBezTo>
                    <a:pt x="44" y="0"/>
                    <a:pt x="0" y="44"/>
                    <a:pt x="0" y="98"/>
                  </a:cubicBezTo>
                  <a:cubicBezTo>
                    <a:pt x="0" y="152"/>
                    <a:pt x="44" y="196"/>
                    <a:pt x="98" y="196"/>
                  </a:cubicBezTo>
                  <a:cubicBezTo>
                    <a:pt x="152" y="196"/>
                    <a:pt x="195" y="152"/>
                    <a:pt x="195" y="98"/>
                  </a:cubicBezTo>
                  <a:cubicBezTo>
                    <a:pt x="195" y="44"/>
                    <a:pt x="152" y="0"/>
                    <a:pt x="98" y="0"/>
                  </a:cubicBezTo>
                  <a:close/>
                  <a:moveTo>
                    <a:pt x="98" y="139"/>
                  </a:moveTo>
                  <a:cubicBezTo>
                    <a:pt x="75" y="139"/>
                    <a:pt x="57" y="121"/>
                    <a:pt x="57" y="98"/>
                  </a:cubicBezTo>
                  <a:cubicBezTo>
                    <a:pt x="57" y="75"/>
                    <a:pt x="75" y="57"/>
                    <a:pt x="98" y="57"/>
                  </a:cubicBezTo>
                  <a:cubicBezTo>
                    <a:pt x="120" y="57"/>
                    <a:pt x="139" y="75"/>
                    <a:pt x="139" y="98"/>
                  </a:cubicBezTo>
                  <a:cubicBezTo>
                    <a:pt x="139" y="121"/>
                    <a:pt x="120" y="139"/>
                    <a:pt x="98" y="1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25120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22" grpId="0" animBg="1"/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4426A6-3EE4-42AB-95C7-44B64295B111}"/>
              </a:ext>
            </a:extLst>
          </p:cNvPr>
          <p:cNvCxnSpPr/>
          <p:nvPr/>
        </p:nvCxnSpPr>
        <p:spPr>
          <a:xfrm>
            <a:off x="2977743" y="195297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A7C2910-7084-44D2-98EE-07380B763C50}"/>
              </a:ext>
            </a:extLst>
          </p:cNvPr>
          <p:cNvSpPr/>
          <p:nvPr/>
        </p:nvSpPr>
        <p:spPr>
          <a:xfrm>
            <a:off x="3703957" y="882409"/>
            <a:ext cx="5005943" cy="250786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Also cars have different functionalities too that changes those dynamic attributes,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moving forward or backward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accelerating or braking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changing gear</a:t>
            </a:r>
          </a:p>
          <a:p>
            <a:pPr marL="742950" lvl="1" indent="-285750" algn="just">
              <a:lnSpc>
                <a:spcPct val="109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…</a:t>
            </a:r>
          </a:p>
          <a:p>
            <a:pPr lvl="1" algn="just">
              <a:lnSpc>
                <a:spcPct val="109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  <a:p>
            <a:pPr algn="just">
              <a:lnSpc>
                <a:spcPct val="109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CE4E5-0480-492A-9CE4-BB1F0819F2F8}"/>
              </a:ext>
            </a:extLst>
          </p:cNvPr>
          <p:cNvSpPr txBox="1"/>
          <p:nvPr/>
        </p:nvSpPr>
        <p:spPr>
          <a:xfrm>
            <a:off x="-90330" y="832390"/>
            <a:ext cx="3616996" cy="10341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34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1. An Example to Begin With</a:t>
            </a:r>
          </a:p>
        </p:txBody>
      </p:sp>
      <p:grpSp>
        <p:nvGrpSpPr>
          <p:cNvPr id="18" name="Car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flipH="1">
            <a:off x="9447043" y="4862679"/>
            <a:ext cx="1957067" cy="835040"/>
            <a:chOff x="8" y="8"/>
            <a:chExt cx="1057" cy="451"/>
          </a:xfrm>
          <a:solidFill>
            <a:schemeClr val="accent1"/>
          </a:solidFill>
        </p:grpSpPr>
        <p:sp>
          <p:nvSpPr>
            <p:cNvPr id="19" name="Car2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119" y="267"/>
              <a:ext cx="192" cy="192"/>
            </a:xfrm>
            <a:custGeom>
              <a:avLst/>
              <a:gdLst>
                <a:gd name="T0" fmla="*/ 113 w 227"/>
                <a:gd name="T1" fmla="*/ 0 h 226"/>
                <a:gd name="T2" fmla="*/ 0 w 227"/>
                <a:gd name="T3" fmla="*/ 113 h 226"/>
                <a:gd name="T4" fmla="*/ 113 w 227"/>
                <a:gd name="T5" fmla="*/ 226 h 226"/>
                <a:gd name="T6" fmla="*/ 227 w 227"/>
                <a:gd name="T7" fmla="*/ 113 h 226"/>
                <a:gd name="T8" fmla="*/ 113 w 227"/>
                <a:gd name="T9" fmla="*/ 0 h 226"/>
                <a:gd name="T10" fmla="*/ 113 w 227"/>
                <a:gd name="T11" fmla="*/ 174 h 226"/>
                <a:gd name="T12" fmla="*/ 52 w 227"/>
                <a:gd name="T13" fmla="*/ 113 h 226"/>
                <a:gd name="T14" fmla="*/ 113 w 227"/>
                <a:gd name="T15" fmla="*/ 52 h 226"/>
                <a:gd name="T16" fmla="*/ 174 w 227"/>
                <a:gd name="T17" fmla="*/ 113 h 226"/>
                <a:gd name="T18" fmla="*/ 113 w 227"/>
                <a:gd name="T19" fmla="*/ 17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6">
                  <a:moveTo>
                    <a:pt x="113" y="0"/>
                  </a:move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3" y="226"/>
                  </a:cubicBezTo>
                  <a:cubicBezTo>
                    <a:pt x="176" y="226"/>
                    <a:pt x="227" y="175"/>
                    <a:pt x="227" y="113"/>
                  </a:cubicBezTo>
                  <a:cubicBezTo>
                    <a:pt x="227" y="50"/>
                    <a:pt x="176" y="0"/>
                    <a:pt x="113" y="0"/>
                  </a:cubicBezTo>
                  <a:close/>
                  <a:moveTo>
                    <a:pt x="113" y="174"/>
                  </a:moveTo>
                  <a:cubicBezTo>
                    <a:pt x="80" y="174"/>
                    <a:pt x="52" y="147"/>
                    <a:pt x="52" y="113"/>
                  </a:cubicBezTo>
                  <a:cubicBezTo>
                    <a:pt x="52" y="79"/>
                    <a:pt x="80" y="52"/>
                    <a:pt x="113" y="52"/>
                  </a:cubicBezTo>
                  <a:cubicBezTo>
                    <a:pt x="147" y="52"/>
                    <a:pt x="174" y="79"/>
                    <a:pt x="174" y="113"/>
                  </a:cubicBezTo>
                  <a:cubicBezTo>
                    <a:pt x="174" y="147"/>
                    <a:pt x="147" y="174"/>
                    <a:pt x="113" y="1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ar2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764" y="267"/>
              <a:ext cx="192" cy="192"/>
            </a:xfrm>
            <a:custGeom>
              <a:avLst/>
              <a:gdLst>
                <a:gd name="T0" fmla="*/ 114 w 227"/>
                <a:gd name="T1" fmla="*/ 0 h 226"/>
                <a:gd name="T2" fmla="*/ 0 w 227"/>
                <a:gd name="T3" fmla="*/ 113 h 226"/>
                <a:gd name="T4" fmla="*/ 114 w 227"/>
                <a:gd name="T5" fmla="*/ 226 h 226"/>
                <a:gd name="T6" fmla="*/ 227 w 227"/>
                <a:gd name="T7" fmla="*/ 113 h 226"/>
                <a:gd name="T8" fmla="*/ 114 w 227"/>
                <a:gd name="T9" fmla="*/ 0 h 226"/>
                <a:gd name="T10" fmla="*/ 114 w 227"/>
                <a:gd name="T11" fmla="*/ 174 h 226"/>
                <a:gd name="T12" fmla="*/ 53 w 227"/>
                <a:gd name="T13" fmla="*/ 113 h 226"/>
                <a:gd name="T14" fmla="*/ 114 w 227"/>
                <a:gd name="T15" fmla="*/ 52 h 226"/>
                <a:gd name="T16" fmla="*/ 175 w 227"/>
                <a:gd name="T17" fmla="*/ 113 h 226"/>
                <a:gd name="T18" fmla="*/ 114 w 227"/>
                <a:gd name="T19" fmla="*/ 17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6">
                  <a:moveTo>
                    <a:pt x="114" y="0"/>
                  </a:moveTo>
                  <a:cubicBezTo>
                    <a:pt x="51" y="0"/>
                    <a:pt x="0" y="50"/>
                    <a:pt x="0" y="113"/>
                  </a:cubicBezTo>
                  <a:cubicBezTo>
                    <a:pt x="0" y="175"/>
                    <a:pt x="51" y="226"/>
                    <a:pt x="114" y="226"/>
                  </a:cubicBezTo>
                  <a:cubicBezTo>
                    <a:pt x="176" y="226"/>
                    <a:pt x="227" y="175"/>
                    <a:pt x="227" y="113"/>
                  </a:cubicBezTo>
                  <a:cubicBezTo>
                    <a:pt x="227" y="50"/>
                    <a:pt x="176" y="0"/>
                    <a:pt x="114" y="0"/>
                  </a:cubicBezTo>
                  <a:close/>
                  <a:moveTo>
                    <a:pt x="114" y="174"/>
                  </a:moveTo>
                  <a:cubicBezTo>
                    <a:pt x="80" y="174"/>
                    <a:pt x="53" y="147"/>
                    <a:pt x="53" y="113"/>
                  </a:cubicBezTo>
                  <a:cubicBezTo>
                    <a:pt x="53" y="79"/>
                    <a:pt x="80" y="52"/>
                    <a:pt x="114" y="52"/>
                  </a:cubicBezTo>
                  <a:cubicBezTo>
                    <a:pt x="148" y="52"/>
                    <a:pt x="175" y="79"/>
                    <a:pt x="175" y="113"/>
                  </a:cubicBezTo>
                  <a:cubicBezTo>
                    <a:pt x="175" y="147"/>
                    <a:pt x="148" y="174"/>
                    <a:pt x="114" y="1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Car2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057" cy="355"/>
            </a:xfrm>
            <a:custGeom>
              <a:avLst/>
              <a:gdLst>
                <a:gd name="T0" fmla="*/ 1228 w 1250"/>
                <a:gd name="T1" fmla="*/ 334 h 419"/>
                <a:gd name="T2" fmla="*/ 1159 w 1250"/>
                <a:gd name="T3" fmla="*/ 211 h 419"/>
                <a:gd name="T4" fmla="*/ 884 w 1250"/>
                <a:gd name="T5" fmla="*/ 189 h 419"/>
                <a:gd name="T6" fmla="*/ 752 w 1250"/>
                <a:gd name="T7" fmla="*/ 0 h 419"/>
                <a:gd name="T8" fmla="*/ 375 w 1250"/>
                <a:gd name="T9" fmla="*/ 0 h 419"/>
                <a:gd name="T10" fmla="*/ 211 w 1250"/>
                <a:gd name="T11" fmla="*/ 193 h 419"/>
                <a:gd name="T12" fmla="*/ 111 w 1250"/>
                <a:gd name="T13" fmla="*/ 212 h 419"/>
                <a:gd name="T14" fmla="*/ 43 w 1250"/>
                <a:gd name="T15" fmla="*/ 356 h 419"/>
                <a:gd name="T16" fmla="*/ 0 w 1250"/>
                <a:gd name="T17" fmla="*/ 356 h 419"/>
                <a:gd name="T18" fmla="*/ 0 w 1250"/>
                <a:gd name="T19" fmla="*/ 419 h 419"/>
                <a:gd name="T20" fmla="*/ 105 w 1250"/>
                <a:gd name="T21" fmla="*/ 419 h 419"/>
                <a:gd name="T22" fmla="*/ 244 w 1250"/>
                <a:gd name="T23" fmla="*/ 279 h 419"/>
                <a:gd name="T24" fmla="*/ 384 w 1250"/>
                <a:gd name="T25" fmla="*/ 419 h 419"/>
                <a:gd name="T26" fmla="*/ 868 w 1250"/>
                <a:gd name="T27" fmla="*/ 419 h 419"/>
                <a:gd name="T28" fmla="*/ 1008 w 1250"/>
                <a:gd name="T29" fmla="*/ 279 h 419"/>
                <a:gd name="T30" fmla="*/ 1147 w 1250"/>
                <a:gd name="T31" fmla="*/ 419 h 419"/>
                <a:gd name="T32" fmla="*/ 1250 w 1250"/>
                <a:gd name="T33" fmla="*/ 419 h 419"/>
                <a:gd name="T34" fmla="*/ 1250 w 1250"/>
                <a:gd name="T35" fmla="*/ 334 h 419"/>
                <a:gd name="T36" fmla="*/ 1228 w 1250"/>
                <a:gd name="T37" fmla="*/ 334 h 419"/>
                <a:gd name="T38" fmla="*/ 559 w 1250"/>
                <a:gd name="T39" fmla="*/ 179 h 419"/>
                <a:gd name="T40" fmla="*/ 342 w 1250"/>
                <a:gd name="T41" fmla="*/ 179 h 419"/>
                <a:gd name="T42" fmla="*/ 449 w 1250"/>
                <a:gd name="T43" fmla="*/ 21 h 419"/>
                <a:gd name="T44" fmla="*/ 559 w 1250"/>
                <a:gd name="T45" fmla="*/ 21 h 419"/>
                <a:gd name="T46" fmla="*/ 559 w 1250"/>
                <a:gd name="T47" fmla="*/ 179 h 419"/>
                <a:gd name="T48" fmla="*/ 600 w 1250"/>
                <a:gd name="T49" fmla="*/ 179 h 419"/>
                <a:gd name="T50" fmla="*/ 600 w 1250"/>
                <a:gd name="T51" fmla="*/ 21 h 419"/>
                <a:gd name="T52" fmla="*/ 741 w 1250"/>
                <a:gd name="T53" fmla="*/ 21 h 419"/>
                <a:gd name="T54" fmla="*/ 852 w 1250"/>
                <a:gd name="T55" fmla="*/ 188 h 419"/>
                <a:gd name="T56" fmla="*/ 600 w 1250"/>
                <a:gd name="T57" fmla="*/ 17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50" h="419">
                  <a:moveTo>
                    <a:pt x="1228" y="334"/>
                  </a:moveTo>
                  <a:cubicBezTo>
                    <a:pt x="1228" y="224"/>
                    <a:pt x="1159" y="211"/>
                    <a:pt x="1159" y="211"/>
                  </a:cubicBezTo>
                  <a:cubicBezTo>
                    <a:pt x="1058" y="197"/>
                    <a:pt x="884" y="189"/>
                    <a:pt x="884" y="189"/>
                  </a:cubicBezTo>
                  <a:cubicBezTo>
                    <a:pt x="868" y="162"/>
                    <a:pt x="795" y="0"/>
                    <a:pt x="752" y="0"/>
                  </a:cubicBezTo>
                  <a:lnTo>
                    <a:pt x="375" y="0"/>
                  </a:lnTo>
                  <a:cubicBezTo>
                    <a:pt x="320" y="0"/>
                    <a:pt x="231" y="158"/>
                    <a:pt x="211" y="193"/>
                  </a:cubicBezTo>
                  <a:cubicBezTo>
                    <a:pt x="211" y="193"/>
                    <a:pt x="143" y="205"/>
                    <a:pt x="111" y="212"/>
                  </a:cubicBezTo>
                  <a:cubicBezTo>
                    <a:pt x="93" y="216"/>
                    <a:pt x="43" y="217"/>
                    <a:pt x="43" y="356"/>
                  </a:cubicBezTo>
                  <a:lnTo>
                    <a:pt x="0" y="356"/>
                  </a:lnTo>
                  <a:lnTo>
                    <a:pt x="0" y="419"/>
                  </a:lnTo>
                  <a:lnTo>
                    <a:pt x="105" y="419"/>
                  </a:lnTo>
                  <a:cubicBezTo>
                    <a:pt x="105" y="342"/>
                    <a:pt x="167" y="279"/>
                    <a:pt x="244" y="279"/>
                  </a:cubicBezTo>
                  <a:cubicBezTo>
                    <a:pt x="321" y="279"/>
                    <a:pt x="384" y="342"/>
                    <a:pt x="384" y="419"/>
                  </a:cubicBezTo>
                  <a:lnTo>
                    <a:pt x="868" y="419"/>
                  </a:lnTo>
                  <a:cubicBezTo>
                    <a:pt x="868" y="342"/>
                    <a:pt x="931" y="279"/>
                    <a:pt x="1008" y="279"/>
                  </a:cubicBezTo>
                  <a:cubicBezTo>
                    <a:pt x="1085" y="279"/>
                    <a:pt x="1147" y="342"/>
                    <a:pt x="1147" y="419"/>
                  </a:cubicBezTo>
                  <a:lnTo>
                    <a:pt x="1250" y="419"/>
                  </a:lnTo>
                  <a:lnTo>
                    <a:pt x="1250" y="334"/>
                  </a:lnTo>
                  <a:lnTo>
                    <a:pt x="1228" y="334"/>
                  </a:lnTo>
                  <a:close/>
                  <a:moveTo>
                    <a:pt x="559" y="179"/>
                  </a:moveTo>
                  <a:lnTo>
                    <a:pt x="342" y="179"/>
                  </a:lnTo>
                  <a:cubicBezTo>
                    <a:pt x="371" y="87"/>
                    <a:pt x="426" y="21"/>
                    <a:pt x="449" y="21"/>
                  </a:cubicBezTo>
                  <a:lnTo>
                    <a:pt x="559" y="21"/>
                  </a:lnTo>
                  <a:lnTo>
                    <a:pt x="559" y="179"/>
                  </a:lnTo>
                  <a:close/>
                  <a:moveTo>
                    <a:pt x="600" y="179"/>
                  </a:moveTo>
                  <a:lnTo>
                    <a:pt x="600" y="21"/>
                  </a:lnTo>
                  <a:lnTo>
                    <a:pt x="741" y="21"/>
                  </a:lnTo>
                  <a:cubicBezTo>
                    <a:pt x="770" y="21"/>
                    <a:pt x="834" y="154"/>
                    <a:pt x="852" y="188"/>
                  </a:cubicBezTo>
                  <a:lnTo>
                    <a:pt x="600" y="1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Car9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9447043" y="3228690"/>
            <a:ext cx="2576316" cy="606772"/>
          </a:xfrm>
          <a:custGeom>
            <a:avLst/>
            <a:gdLst>
              <a:gd name="connsiteX0" fmla="*/ 5971710 w 11316822"/>
              <a:gd name="connsiteY0" fmla="*/ 147636 h 2665329"/>
              <a:gd name="connsiteX1" fmla="*/ 5876460 w 11316822"/>
              <a:gd name="connsiteY1" fmla="*/ 817561 h 2665329"/>
              <a:gd name="connsiteX2" fmla="*/ 7157573 w 11316822"/>
              <a:gd name="connsiteY2" fmla="*/ 806449 h 2665329"/>
              <a:gd name="connsiteX3" fmla="*/ 6513048 w 11316822"/>
              <a:gd name="connsiteY3" fmla="*/ 165099 h 2665329"/>
              <a:gd name="connsiteX4" fmla="*/ 5863760 w 11316822"/>
              <a:gd name="connsiteY4" fmla="*/ 141287 h 2665329"/>
              <a:gd name="connsiteX5" fmla="*/ 4476466 w 11316822"/>
              <a:gd name="connsiteY5" fmla="*/ 143994 h 2665329"/>
              <a:gd name="connsiteX6" fmla="*/ 4258983 w 11316822"/>
              <a:gd name="connsiteY6" fmla="*/ 219789 h 2665329"/>
              <a:gd name="connsiteX7" fmla="*/ 3798353 w 11316822"/>
              <a:gd name="connsiteY7" fmla="*/ 705691 h 2665329"/>
              <a:gd name="connsiteX8" fmla="*/ 4072570 w 11316822"/>
              <a:gd name="connsiteY8" fmla="*/ 803142 h 2665329"/>
              <a:gd name="connsiteX9" fmla="*/ 5773255 w 11316822"/>
              <a:gd name="connsiteY9" fmla="*/ 815323 h 2665329"/>
              <a:gd name="connsiteX10" fmla="*/ 5773255 w 11316822"/>
              <a:gd name="connsiteY10" fmla="*/ 813970 h 2665329"/>
              <a:gd name="connsiteX11" fmla="*/ 5640258 w 11316822"/>
              <a:gd name="connsiteY11" fmla="*/ 0 h 2665329"/>
              <a:gd name="connsiteX12" fmla="*/ 7407681 w 11316822"/>
              <a:gd name="connsiteY12" fmla="*/ 102834 h 2665329"/>
              <a:gd name="connsiteX13" fmla="*/ 7414438 w 11316822"/>
              <a:gd name="connsiteY13" fmla="*/ 169135 h 2665329"/>
              <a:gd name="connsiteX14" fmla="*/ 8192752 w 11316822"/>
              <a:gd name="connsiteY14" fmla="*/ 767198 h 2665329"/>
              <a:gd name="connsiteX15" fmla="*/ 11051979 w 11316822"/>
              <a:gd name="connsiteY15" fmla="*/ 784788 h 2665329"/>
              <a:gd name="connsiteX16" fmla="*/ 10743896 w 11316822"/>
              <a:gd name="connsiteY16" fmla="*/ 1093291 h 2665329"/>
              <a:gd name="connsiteX17" fmla="*/ 11015495 w 11316822"/>
              <a:gd name="connsiteY17" fmla="*/ 1201538 h 2665329"/>
              <a:gd name="connsiteX18" fmla="*/ 11250611 w 11316822"/>
              <a:gd name="connsiteY18" fmla="*/ 1461330 h 2665329"/>
              <a:gd name="connsiteX19" fmla="*/ 11100623 w 11316822"/>
              <a:gd name="connsiteY19" fmla="*/ 1721122 h 2665329"/>
              <a:gd name="connsiteX20" fmla="*/ 11316822 w 11316822"/>
              <a:gd name="connsiteY20" fmla="*/ 1956558 h 2665329"/>
              <a:gd name="connsiteX21" fmla="*/ 10797945 w 11316822"/>
              <a:gd name="connsiteY21" fmla="*/ 1951146 h 2665329"/>
              <a:gd name="connsiteX22" fmla="*/ 10689846 w 11316822"/>
              <a:gd name="connsiteY22" fmla="*/ 2041802 h 2665329"/>
              <a:gd name="connsiteX23" fmla="*/ 10550668 w 11316822"/>
              <a:gd name="connsiteY23" fmla="*/ 2090513 h 2665329"/>
              <a:gd name="connsiteX24" fmla="*/ 8939989 w 11316822"/>
              <a:gd name="connsiteY24" fmla="*/ 2108103 h 2665329"/>
              <a:gd name="connsiteX25" fmla="*/ 8939989 w 11316822"/>
              <a:gd name="connsiteY25" fmla="*/ 2029624 h 2665329"/>
              <a:gd name="connsiteX26" fmla="*/ 8831889 w 11316822"/>
              <a:gd name="connsiteY26" fmla="*/ 2029624 h 2665329"/>
              <a:gd name="connsiteX27" fmla="*/ 8131946 w 11316822"/>
              <a:gd name="connsiteY27" fmla="*/ 2664220 h 2665329"/>
              <a:gd name="connsiteX28" fmla="*/ 7414438 w 11316822"/>
              <a:gd name="connsiteY28" fmla="*/ 2114869 h 2665329"/>
              <a:gd name="connsiteX29" fmla="*/ 7384710 w 11316822"/>
              <a:gd name="connsiteY29" fmla="*/ 2114869 h 2665329"/>
              <a:gd name="connsiteX30" fmla="*/ 7323905 w 11316822"/>
              <a:gd name="connsiteY30" fmla="*/ 2162227 h 2665329"/>
              <a:gd name="connsiteX31" fmla="*/ 7287421 w 11316822"/>
              <a:gd name="connsiteY31" fmla="*/ 2259649 h 2665329"/>
              <a:gd name="connsiteX32" fmla="*/ 2758061 w 11316822"/>
              <a:gd name="connsiteY32" fmla="*/ 2265061 h 2665329"/>
              <a:gd name="connsiteX33" fmla="*/ 2756709 w 11316822"/>
              <a:gd name="connsiteY33" fmla="*/ 2265061 h 2665329"/>
              <a:gd name="connsiteX34" fmla="*/ 2504027 w 11316822"/>
              <a:gd name="connsiteY34" fmla="*/ 2029624 h 2665329"/>
              <a:gd name="connsiteX35" fmla="*/ 2474300 w 11316822"/>
              <a:gd name="connsiteY35" fmla="*/ 2012034 h 2665329"/>
              <a:gd name="connsiteX36" fmla="*/ 2449978 w 11316822"/>
              <a:gd name="connsiteY36" fmla="*/ 2150049 h 2665329"/>
              <a:gd name="connsiteX37" fmla="*/ 1635179 w 11316822"/>
              <a:gd name="connsiteY37" fmla="*/ 2657455 h 2665329"/>
              <a:gd name="connsiteX38" fmla="*/ 929831 w 11316822"/>
              <a:gd name="connsiteY38" fmla="*/ 2078335 h 2665329"/>
              <a:gd name="connsiteX39" fmla="*/ 898753 w 11316822"/>
              <a:gd name="connsiteY39" fmla="*/ 2083748 h 2665329"/>
              <a:gd name="connsiteX40" fmla="*/ 820381 w 11316822"/>
              <a:gd name="connsiteY40" fmla="*/ 2125693 h 2665329"/>
              <a:gd name="connsiteX41" fmla="*/ 560942 w 11316822"/>
              <a:gd name="connsiteY41" fmla="*/ 2120281 h 2665329"/>
              <a:gd name="connsiteX42" fmla="*/ 428521 w 11316822"/>
              <a:gd name="connsiteY42" fmla="*/ 2066158 h 2665329"/>
              <a:gd name="connsiteX43" fmla="*/ 362310 w 11316822"/>
              <a:gd name="connsiteY43" fmla="*/ 1987679 h 2665329"/>
              <a:gd name="connsiteX44" fmla="*/ 290694 w 11316822"/>
              <a:gd name="connsiteY44" fmla="*/ 1945733 h 2665329"/>
              <a:gd name="connsiteX45" fmla="*/ 205566 w 11316822"/>
              <a:gd name="connsiteY45" fmla="*/ 1733299 h 2665329"/>
              <a:gd name="connsiteX46" fmla="*/ 177 w 11316822"/>
              <a:gd name="connsiteY46" fmla="*/ 1685941 h 2665329"/>
              <a:gd name="connsiteX47" fmla="*/ 115033 w 11316822"/>
              <a:gd name="connsiteY47" fmla="*/ 1642643 h 2665329"/>
              <a:gd name="connsiteX48" fmla="*/ 271777 w 11316822"/>
              <a:gd name="connsiteY48" fmla="*/ 1618287 h 2665329"/>
              <a:gd name="connsiteX49" fmla="*/ 254210 w 11316822"/>
              <a:gd name="connsiteY49" fmla="*/ 1583107 h 2665329"/>
              <a:gd name="connsiteX50" fmla="*/ 188000 w 11316822"/>
              <a:gd name="connsiteY50" fmla="*/ 1539808 h 2665329"/>
              <a:gd name="connsiteX51" fmla="*/ 115033 w 11316822"/>
              <a:gd name="connsiteY51" fmla="*/ 1382851 h 2665329"/>
              <a:gd name="connsiteX52" fmla="*/ 181243 w 11316822"/>
              <a:gd name="connsiteY52" fmla="*/ 1274604 h 2665329"/>
              <a:gd name="connsiteX53" fmla="*/ 127194 w 11316822"/>
              <a:gd name="connsiteY53" fmla="*/ 1142002 h 2665329"/>
              <a:gd name="connsiteX54" fmla="*/ 362310 w 11316822"/>
              <a:gd name="connsiteY54" fmla="*/ 1009400 h 2665329"/>
              <a:gd name="connsiteX55" fmla="*/ 754170 w 11316822"/>
              <a:gd name="connsiteY55" fmla="*/ 894388 h 2665329"/>
              <a:gd name="connsiteX56" fmla="*/ 1804084 w 11316822"/>
              <a:gd name="connsiteY56" fmla="*/ 851089 h 2665329"/>
              <a:gd name="connsiteX57" fmla="*/ 3216131 w 11316822"/>
              <a:gd name="connsiteY57" fmla="*/ 821321 h 2665329"/>
              <a:gd name="connsiteX58" fmla="*/ 3275586 w 11316822"/>
              <a:gd name="connsiteY58" fmla="*/ 761786 h 2665329"/>
              <a:gd name="connsiteX59" fmla="*/ 3390441 w 11316822"/>
              <a:gd name="connsiteY59" fmla="*/ 755020 h 2665329"/>
              <a:gd name="connsiteX60" fmla="*/ 3747169 w 11316822"/>
              <a:gd name="connsiteY60" fmla="*/ 470873 h 2665329"/>
              <a:gd name="connsiteX61" fmla="*/ 4410628 w 11316822"/>
              <a:gd name="connsiteY61" fmla="*/ 17590 h 2665329"/>
              <a:gd name="connsiteX62" fmla="*/ 5640258 w 11316822"/>
              <a:gd name="connsiteY62" fmla="*/ 0 h 2665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1316822" h="2665329">
                <a:moveTo>
                  <a:pt x="5971710" y="147636"/>
                </a:moveTo>
                <a:lnTo>
                  <a:pt x="5876460" y="817561"/>
                </a:lnTo>
                <a:lnTo>
                  <a:pt x="7157573" y="806449"/>
                </a:lnTo>
                <a:lnTo>
                  <a:pt x="6513048" y="165099"/>
                </a:lnTo>
                <a:close/>
                <a:moveTo>
                  <a:pt x="5863760" y="141287"/>
                </a:moveTo>
                <a:lnTo>
                  <a:pt x="4476466" y="143994"/>
                </a:lnTo>
                <a:lnTo>
                  <a:pt x="4258983" y="219789"/>
                </a:lnTo>
                <a:cubicBezTo>
                  <a:pt x="4258983" y="219789"/>
                  <a:pt x="3788897" y="590645"/>
                  <a:pt x="3798353" y="705691"/>
                </a:cubicBezTo>
                <a:cubicBezTo>
                  <a:pt x="3806458" y="820737"/>
                  <a:pt x="4072570" y="803142"/>
                  <a:pt x="4072570" y="803142"/>
                </a:cubicBezTo>
                <a:lnTo>
                  <a:pt x="5773255" y="815323"/>
                </a:lnTo>
                <a:lnTo>
                  <a:pt x="5773255" y="813970"/>
                </a:lnTo>
                <a:close/>
                <a:moveTo>
                  <a:pt x="5640258" y="0"/>
                </a:moveTo>
                <a:cubicBezTo>
                  <a:pt x="6406412" y="0"/>
                  <a:pt x="7407681" y="102834"/>
                  <a:pt x="7407681" y="102834"/>
                </a:cubicBezTo>
                <a:lnTo>
                  <a:pt x="7414438" y="169135"/>
                </a:lnTo>
                <a:lnTo>
                  <a:pt x="8192752" y="767198"/>
                </a:lnTo>
                <a:lnTo>
                  <a:pt x="11051979" y="784788"/>
                </a:lnTo>
                <a:lnTo>
                  <a:pt x="10743896" y="1093291"/>
                </a:lnTo>
                <a:lnTo>
                  <a:pt x="11015495" y="1201538"/>
                </a:lnTo>
                <a:cubicBezTo>
                  <a:pt x="11015495" y="1201538"/>
                  <a:pt x="11250611" y="1262427"/>
                  <a:pt x="11250611" y="1461330"/>
                </a:cubicBezTo>
                <a:cubicBezTo>
                  <a:pt x="11250611" y="1661586"/>
                  <a:pt x="11100623" y="1721122"/>
                  <a:pt x="11100623" y="1721122"/>
                </a:cubicBezTo>
                <a:lnTo>
                  <a:pt x="11316822" y="1956558"/>
                </a:lnTo>
                <a:lnTo>
                  <a:pt x="10797945" y="1951146"/>
                </a:lnTo>
                <a:cubicBezTo>
                  <a:pt x="10797945" y="1951146"/>
                  <a:pt x="10762813" y="1987679"/>
                  <a:pt x="10689846" y="2041802"/>
                </a:cubicBezTo>
                <a:cubicBezTo>
                  <a:pt x="10616879" y="2095926"/>
                  <a:pt x="10581747" y="2090513"/>
                  <a:pt x="10550668" y="2090513"/>
                </a:cubicBezTo>
                <a:cubicBezTo>
                  <a:pt x="10520941" y="2090513"/>
                  <a:pt x="8939989" y="2108103"/>
                  <a:pt x="8939989" y="2108103"/>
                </a:cubicBezTo>
                <a:lnTo>
                  <a:pt x="8939989" y="2029624"/>
                </a:lnTo>
                <a:lnTo>
                  <a:pt x="8831889" y="2029624"/>
                </a:lnTo>
                <a:cubicBezTo>
                  <a:pt x="8831889" y="2029624"/>
                  <a:pt x="8885939" y="2631746"/>
                  <a:pt x="8131946" y="2664220"/>
                </a:cubicBezTo>
                <a:cubicBezTo>
                  <a:pt x="7414438" y="2693988"/>
                  <a:pt x="7414438" y="2114869"/>
                  <a:pt x="7414438" y="2114869"/>
                </a:cubicBezTo>
                <a:lnTo>
                  <a:pt x="7384710" y="2114869"/>
                </a:lnTo>
                <a:cubicBezTo>
                  <a:pt x="7384710" y="2114869"/>
                  <a:pt x="7353632" y="2125693"/>
                  <a:pt x="7323905" y="2162227"/>
                </a:cubicBezTo>
                <a:cubicBezTo>
                  <a:pt x="7294177" y="2198760"/>
                  <a:pt x="7287421" y="2259649"/>
                  <a:pt x="7287421" y="2259649"/>
                </a:cubicBezTo>
                <a:lnTo>
                  <a:pt x="2758061" y="2265061"/>
                </a:lnTo>
                <a:lnTo>
                  <a:pt x="2756709" y="2265061"/>
                </a:lnTo>
                <a:lnTo>
                  <a:pt x="2504027" y="2029624"/>
                </a:lnTo>
                <a:lnTo>
                  <a:pt x="2474300" y="2012034"/>
                </a:lnTo>
                <a:lnTo>
                  <a:pt x="2449978" y="2150049"/>
                </a:lnTo>
                <a:cubicBezTo>
                  <a:pt x="2449978" y="2150049"/>
                  <a:pt x="2298639" y="2645277"/>
                  <a:pt x="1635179" y="2657455"/>
                </a:cubicBezTo>
                <a:cubicBezTo>
                  <a:pt x="971720" y="2669633"/>
                  <a:pt x="929831" y="2078335"/>
                  <a:pt x="929831" y="2078335"/>
                </a:cubicBezTo>
                <a:cubicBezTo>
                  <a:pt x="929831" y="2078335"/>
                  <a:pt x="923075" y="2083748"/>
                  <a:pt x="898753" y="2083748"/>
                </a:cubicBezTo>
                <a:cubicBezTo>
                  <a:pt x="875781" y="2083748"/>
                  <a:pt x="820381" y="2125693"/>
                  <a:pt x="820381" y="2125693"/>
                </a:cubicBezTo>
                <a:cubicBezTo>
                  <a:pt x="820381" y="2125693"/>
                  <a:pt x="609587" y="2125693"/>
                  <a:pt x="560942" y="2120281"/>
                </a:cubicBezTo>
                <a:cubicBezTo>
                  <a:pt x="513649" y="2114869"/>
                  <a:pt x="482570" y="2108103"/>
                  <a:pt x="428521" y="2066158"/>
                </a:cubicBezTo>
                <a:cubicBezTo>
                  <a:pt x="374471" y="2024212"/>
                  <a:pt x="362310" y="1987679"/>
                  <a:pt x="362310" y="1987679"/>
                </a:cubicBezTo>
                <a:cubicBezTo>
                  <a:pt x="362310" y="1987679"/>
                  <a:pt x="350149" y="2005269"/>
                  <a:pt x="290694" y="1945733"/>
                </a:cubicBezTo>
                <a:cubicBezTo>
                  <a:pt x="229888" y="1884845"/>
                  <a:pt x="205566" y="1733299"/>
                  <a:pt x="205566" y="1733299"/>
                </a:cubicBezTo>
                <a:cubicBezTo>
                  <a:pt x="205566" y="1733299"/>
                  <a:pt x="6933" y="1721122"/>
                  <a:pt x="177" y="1685941"/>
                </a:cubicBezTo>
                <a:cubicBezTo>
                  <a:pt x="-5228" y="1649408"/>
                  <a:pt x="115033" y="1642643"/>
                  <a:pt x="115033" y="1642643"/>
                </a:cubicBezTo>
                <a:lnTo>
                  <a:pt x="271777" y="1618287"/>
                </a:lnTo>
                <a:lnTo>
                  <a:pt x="254210" y="1583107"/>
                </a:lnTo>
                <a:lnTo>
                  <a:pt x="188000" y="1539808"/>
                </a:lnTo>
                <a:cubicBezTo>
                  <a:pt x="188000" y="1539808"/>
                  <a:pt x="115033" y="1443740"/>
                  <a:pt x="115033" y="1382851"/>
                </a:cubicBezTo>
                <a:cubicBezTo>
                  <a:pt x="115033" y="1323315"/>
                  <a:pt x="156921" y="1292194"/>
                  <a:pt x="181243" y="1274604"/>
                </a:cubicBezTo>
                <a:cubicBezTo>
                  <a:pt x="205566" y="1257014"/>
                  <a:pt x="127194" y="1189360"/>
                  <a:pt x="127194" y="1142002"/>
                </a:cubicBezTo>
                <a:cubicBezTo>
                  <a:pt x="127194" y="1093291"/>
                  <a:pt x="259615" y="1044580"/>
                  <a:pt x="362310" y="1009400"/>
                </a:cubicBezTo>
                <a:cubicBezTo>
                  <a:pt x="465004" y="972867"/>
                  <a:pt x="754170" y="894388"/>
                  <a:pt x="754170" y="894388"/>
                </a:cubicBezTo>
                <a:cubicBezTo>
                  <a:pt x="754170" y="894388"/>
                  <a:pt x="1327096" y="870032"/>
                  <a:pt x="1804084" y="851089"/>
                </a:cubicBezTo>
                <a:cubicBezTo>
                  <a:pt x="2281072" y="833499"/>
                  <a:pt x="3216131" y="821321"/>
                  <a:pt x="3216131" y="821321"/>
                </a:cubicBezTo>
                <a:lnTo>
                  <a:pt x="3275586" y="761786"/>
                </a:lnTo>
                <a:lnTo>
                  <a:pt x="3390441" y="755020"/>
                </a:lnTo>
                <a:cubicBezTo>
                  <a:pt x="3390441" y="755020"/>
                  <a:pt x="3505297" y="676542"/>
                  <a:pt x="3747169" y="470873"/>
                </a:cubicBezTo>
                <a:cubicBezTo>
                  <a:pt x="3987690" y="265204"/>
                  <a:pt x="4410628" y="17590"/>
                  <a:pt x="4410628" y="17590"/>
                </a:cubicBezTo>
                <a:cubicBezTo>
                  <a:pt x="4410628" y="17590"/>
                  <a:pt x="4874104" y="0"/>
                  <a:pt x="5640258" y="0"/>
                </a:cubicBezTo>
                <a:close/>
              </a:path>
            </a:pathLst>
          </a:custGeom>
          <a:solidFill>
            <a:schemeClr val="accent1"/>
          </a:solidFill>
          <a:ln w="17463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ar8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 flipH="1">
            <a:off x="571903" y="3091050"/>
            <a:ext cx="2188946" cy="744412"/>
          </a:xfrm>
          <a:custGeom>
            <a:avLst/>
            <a:gdLst>
              <a:gd name="T0" fmla="*/ 7649 w 12845"/>
              <a:gd name="T1" fmla="*/ 35 h 4360"/>
              <a:gd name="T2" fmla="*/ 7593 w 12845"/>
              <a:gd name="T3" fmla="*/ 36 h 4360"/>
              <a:gd name="T4" fmla="*/ 5458 w 12845"/>
              <a:gd name="T5" fmla="*/ 199 h 4360"/>
              <a:gd name="T6" fmla="*/ 3929 w 12845"/>
              <a:gd name="T7" fmla="*/ 1191 h 4360"/>
              <a:gd name="T8" fmla="*/ 1778 w 12845"/>
              <a:gd name="T9" fmla="*/ 1588 h 4360"/>
              <a:gd name="T10" fmla="*/ 475 w 12845"/>
              <a:gd name="T11" fmla="*/ 2018 h 4360"/>
              <a:gd name="T12" fmla="*/ 25 w 12845"/>
              <a:gd name="T13" fmla="*/ 3103 h 4360"/>
              <a:gd name="T14" fmla="*/ 471 w 12845"/>
              <a:gd name="T15" fmla="*/ 3806 h 4360"/>
              <a:gd name="T16" fmla="*/ 1204 w 12845"/>
              <a:gd name="T17" fmla="*/ 3806 h 4360"/>
              <a:gd name="T18" fmla="*/ 2317 w 12845"/>
              <a:gd name="T19" fmla="*/ 2553 h 4360"/>
              <a:gd name="T20" fmla="*/ 3387 w 12845"/>
              <a:gd name="T21" fmla="*/ 3806 h 4360"/>
              <a:gd name="T22" fmla="*/ 8964 w 12845"/>
              <a:gd name="T23" fmla="*/ 3806 h 4360"/>
              <a:gd name="T24" fmla="*/ 10032 w 12845"/>
              <a:gd name="T25" fmla="*/ 2540 h 4360"/>
              <a:gd name="T26" fmla="*/ 11130 w 12845"/>
              <a:gd name="T27" fmla="*/ 3806 h 4360"/>
              <a:gd name="T28" fmla="*/ 12230 w 12845"/>
              <a:gd name="T29" fmla="*/ 3806 h 4360"/>
              <a:gd name="T30" fmla="*/ 12740 w 12845"/>
              <a:gd name="T31" fmla="*/ 3301 h 4360"/>
              <a:gd name="T32" fmla="*/ 12403 w 12845"/>
              <a:gd name="T33" fmla="*/ 1682 h 4360"/>
              <a:gd name="T34" fmla="*/ 11626 w 12845"/>
              <a:gd name="T35" fmla="*/ 1451 h 4360"/>
              <a:gd name="T36" fmla="*/ 9840 w 12845"/>
              <a:gd name="T37" fmla="*/ 379 h 4360"/>
              <a:gd name="T38" fmla="*/ 7649 w 12845"/>
              <a:gd name="T39" fmla="*/ 35 h 4360"/>
              <a:gd name="T40" fmla="*/ 10078 w 12845"/>
              <a:gd name="T41" fmla="*/ 2663 h 4360"/>
              <a:gd name="T42" fmla="*/ 9205 w 12845"/>
              <a:gd name="T43" fmla="*/ 3512 h 4360"/>
              <a:gd name="T44" fmla="*/ 10053 w 12845"/>
              <a:gd name="T45" fmla="*/ 4360 h 4360"/>
              <a:gd name="T46" fmla="*/ 10902 w 12845"/>
              <a:gd name="T47" fmla="*/ 3512 h 4360"/>
              <a:gd name="T48" fmla="*/ 10078 w 12845"/>
              <a:gd name="T49" fmla="*/ 2663 h 4360"/>
              <a:gd name="T50" fmla="*/ 2329 w 12845"/>
              <a:gd name="T51" fmla="*/ 2664 h 4360"/>
              <a:gd name="T52" fmla="*/ 1457 w 12845"/>
              <a:gd name="T53" fmla="*/ 3512 h 4360"/>
              <a:gd name="T54" fmla="*/ 2305 w 12845"/>
              <a:gd name="T55" fmla="*/ 4360 h 4360"/>
              <a:gd name="T56" fmla="*/ 3153 w 12845"/>
              <a:gd name="T57" fmla="*/ 3512 h 4360"/>
              <a:gd name="T58" fmla="*/ 2329 w 12845"/>
              <a:gd name="T59" fmla="*/ 2664 h 4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845" h="4360">
                <a:moveTo>
                  <a:pt x="7649" y="35"/>
                </a:moveTo>
                <a:cubicBezTo>
                  <a:pt x="7630" y="36"/>
                  <a:pt x="7611" y="36"/>
                  <a:pt x="7593" y="36"/>
                </a:cubicBezTo>
                <a:cubicBezTo>
                  <a:pt x="7020" y="55"/>
                  <a:pt x="5920" y="0"/>
                  <a:pt x="5458" y="199"/>
                </a:cubicBezTo>
                <a:cubicBezTo>
                  <a:pt x="5458" y="199"/>
                  <a:pt x="4327" y="902"/>
                  <a:pt x="3929" y="1191"/>
                </a:cubicBezTo>
                <a:cubicBezTo>
                  <a:pt x="3530" y="1479"/>
                  <a:pt x="2718" y="1479"/>
                  <a:pt x="1778" y="1588"/>
                </a:cubicBezTo>
                <a:cubicBezTo>
                  <a:pt x="838" y="1696"/>
                  <a:pt x="475" y="2018"/>
                  <a:pt x="475" y="2018"/>
                </a:cubicBezTo>
                <a:cubicBezTo>
                  <a:pt x="211" y="2371"/>
                  <a:pt x="70" y="2619"/>
                  <a:pt x="25" y="3103"/>
                </a:cubicBezTo>
                <a:cubicBezTo>
                  <a:pt x="0" y="3228"/>
                  <a:pt x="473" y="3422"/>
                  <a:pt x="471" y="3806"/>
                </a:cubicBezTo>
                <a:lnTo>
                  <a:pt x="1204" y="3806"/>
                </a:lnTo>
                <a:cubicBezTo>
                  <a:pt x="1204" y="3806"/>
                  <a:pt x="1297" y="2535"/>
                  <a:pt x="2317" y="2553"/>
                </a:cubicBezTo>
                <a:cubicBezTo>
                  <a:pt x="3337" y="2571"/>
                  <a:pt x="3387" y="3806"/>
                  <a:pt x="3387" y="3806"/>
                </a:cubicBezTo>
                <a:lnTo>
                  <a:pt x="8964" y="3806"/>
                </a:lnTo>
                <a:cubicBezTo>
                  <a:pt x="8964" y="3806"/>
                  <a:pt x="9107" y="2576"/>
                  <a:pt x="10032" y="2540"/>
                </a:cubicBezTo>
                <a:cubicBezTo>
                  <a:pt x="10955" y="2503"/>
                  <a:pt x="11130" y="3806"/>
                  <a:pt x="11130" y="3806"/>
                </a:cubicBezTo>
                <a:cubicBezTo>
                  <a:pt x="11130" y="3806"/>
                  <a:pt x="11959" y="3787"/>
                  <a:pt x="12230" y="3806"/>
                </a:cubicBezTo>
                <a:cubicBezTo>
                  <a:pt x="12512" y="3818"/>
                  <a:pt x="12446" y="3400"/>
                  <a:pt x="12740" y="3301"/>
                </a:cubicBezTo>
                <a:cubicBezTo>
                  <a:pt x="12845" y="2401"/>
                  <a:pt x="12591" y="2498"/>
                  <a:pt x="12403" y="1682"/>
                </a:cubicBezTo>
                <a:cubicBezTo>
                  <a:pt x="11972" y="1520"/>
                  <a:pt x="11880" y="1541"/>
                  <a:pt x="11626" y="1451"/>
                </a:cubicBezTo>
                <a:cubicBezTo>
                  <a:pt x="11439" y="1386"/>
                  <a:pt x="10297" y="593"/>
                  <a:pt x="9840" y="379"/>
                </a:cubicBezTo>
                <a:cubicBezTo>
                  <a:pt x="9398" y="173"/>
                  <a:pt x="8242" y="28"/>
                  <a:pt x="7649" y="35"/>
                </a:cubicBezTo>
                <a:close/>
                <a:moveTo>
                  <a:pt x="10078" y="2663"/>
                </a:moveTo>
                <a:cubicBezTo>
                  <a:pt x="9600" y="2650"/>
                  <a:pt x="9205" y="3034"/>
                  <a:pt x="9205" y="3512"/>
                </a:cubicBezTo>
                <a:cubicBezTo>
                  <a:pt x="9206" y="3980"/>
                  <a:pt x="9585" y="4360"/>
                  <a:pt x="10053" y="4360"/>
                </a:cubicBezTo>
                <a:cubicBezTo>
                  <a:pt x="10522" y="4360"/>
                  <a:pt x="10901" y="3980"/>
                  <a:pt x="10902" y="3512"/>
                </a:cubicBezTo>
                <a:cubicBezTo>
                  <a:pt x="10902" y="3053"/>
                  <a:pt x="10537" y="2677"/>
                  <a:pt x="10078" y="2663"/>
                </a:cubicBezTo>
                <a:close/>
                <a:moveTo>
                  <a:pt x="2329" y="2664"/>
                </a:moveTo>
                <a:cubicBezTo>
                  <a:pt x="1851" y="2650"/>
                  <a:pt x="1456" y="3034"/>
                  <a:pt x="1457" y="3512"/>
                </a:cubicBezTo>
                <a:cubicBezTo>
                  <a:pt x="1457" y="3980"/>
                  <a:pt x="1836" y="4360"/>
                  <a:pt x="2305" y="4360"/>
                </a:cubicBezTo>
                <a:cubicBezTo>
                  <a:pt x="2773" y="4360"/>
                  <a:pt x="3153" y="3980"/>
                  <a:pt x="3153" y="3512"/>
                </a:cubicBezTo>
                <a:cubicBezTo>
                  <a:pt x="3153" y="3053"/>
                  <a:pt x="2788" y="2677"/>
                  <a:pt x="2329" y="26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2" name="Car4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 flipH="1">
            <a:off x="571903" y="4991867"/>
            <a:ext cx="2292529" cy="886789"/>
            <a:chOff x="8" y="7"/>
            <a:chExt cx="1153" cy="446"/>
          </a:xfrm>
          <a:solidFill>
            <a:schemeClr val="accent1"/>
          </a:solidFill>
        </p:grpSpPr>
        <p:sp>
          <p:nvSpPr>
            <p:cNvPr id="34" name="Car4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8" y="7"/>
              <a:ext cx="1153" cy="355"/>
            </a:xfrm>
            <a:custGeom>
              <a:avLst/>
              <a:gdLst>
                <a:gd name="T0" fmla="*/ 1249 w 1250"/>
                <a:gd name="T1" fmla="*/ 200 h 384"/>
                <a:gd name="T2" fmla="*/ 1245 w 1250"/>
                <a:gd name="T3" fmla="*/ 187 h 384"/>
                <a:gd name="T4" fmla="*/ 1010 w 1250"/>
                <a:gd name="T5" fmla="*/ 1 h 384"/>
                <a:gd name="T6" fmla="*/ 538 w 1250"/>
                <a:gd name="T7" fmla="*/ 1 h 384"/>
                <a:gd name="T8" fmla="*/ 516 w 1250"/>
                <a:gd name="T9" fmla="*/ 12 h 384"/>
                <a:gd name="T10" fmla="*/ 358 w 1250"/>
                <a:gd name="T11" fmla="*/ 170 h 384"/>
                <a:gd name="T12" fmla="*/ 13 w 1250"/>
                <a:gd name="T13" fmla="*/ 227 h 384"/>
                <a:gd name="T14" fmla="*/ 0 w 1250"/>
                <a:gd name="T15" fmla="*/ 246 h 384"/>
                <a:gd name="T16" fmla="*/ 1 w 1250"/>
                <a:gd name="T17" fmla="*/ 365 h 384"/>
                <a:gd name="T18" fmla="*/ 19 w 1250"/>
                <a:gd name="T19" fmla="*/ 384 h 384"/>
                <a:gd name="T20" fmla="*/ 85 w 1250"/>
                <a:gd name="T21" fmla="*/ 384 h 384"/>
                <a:gd name="T22" fmla="*/ 326 w 1250"/>
                <a:gd name="T23" fmla="*/ 384 h 384"/>
                <a:gd name="T24" fmla="*/ 938 w 1250"/>
                <a:gd name="T25" fmla="*/ 384 h 384"/>
                <a:gd name="T26" fmla="*/ 1177 w 1250"/>
                <a:gd name="T27" fmla="*/ 384 h 384"/>
                <a:gd name="T28" fmla="*/ 1231 w 1250"/>
                <a:gd name="T29" fmla="*/ 384 h 384"/>
                <a:gd name="T30" fmla="*/ 1250 w 1250"/>
                <a:gd name="T31" fmla="*/ 365 h 384"/>
                <a:gd name="T32" fmla="*/ 1249 w 1250"/>
                <a:gd name="T33" fmla="*/ 200 h 384"/>
                <a:gd name="T34" fmla="*/ 743 w 1250"/>
                <a:gd name="T35" fmla="*/ 193 h 384"/>
                <a:gd name="T36" fmla="*/ 416 w 1250"/>
                <a:gd name="T37" fmla="*/ 193 h 384"/>
                <a:gd name="T38" fmla="*/ 407 w 1250"/>
                <a:gd name="T39" fmla="*/ 171 h 384"/>
                <a:gd name="T40" fmla="*/ 524 w 1250"/>
                <a:gd name="T41" fmla="*/ 55 h 384"/>
                <a:gd name="T42" fmla="*/ 534 w 1250"/>
                <a:gd name="T43" fmla="*/ 51 h 384"/>
                <a:gd name="T44" fmla="*/ 743 w 1250"/>
                <a:gd name="T45" fmla="*/ 51 h 384"/>
                <a:gd name="T46" fmla="*/ 743 w 1250"/>
                <a:gd name="T47" fmla="*/ 193 h 384"/>
                <a:gd name="T48" fmla="*/ 1081 w 1250"/>
                <a:gd name="T49" fmla="*/ 193 h 384"/>
                <a:gd name="T50" fmla="*/ 781 w 1250"/>
                <a:gd name="T51" fmla="*/ 193 h 384"/>
                <a:gd name="T52" fmla="*/ 781 w 1250"/>
                <a:gd name="T53" fmla="*/ 51 h 384"/>
                <a:gd name="T54" fmla="*/ 957 w 1250"/>
                <a:gd name="T55" fmla="*/ 51 h 384"/>
                <a:gd name="T56" fmla="*/ 967 w 1250"/>
                <a:gd name="T57" fmla="*/ 55 h 384"/>
                <a:gd name="T58" fmla="*/ 1067 w 1250"/>
                <a:gd name="T59" fmla="*/ 157 h 384"/>
                <a:gd name="T60" fmla="*/ 1081 w 1250"/>
                <a:gd name="T61" fmla="*/ 193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50" h="384">
                  <a:moveTo>
                    <a:pt x="1249" y="200"/>
                  </a:moveTo>
                  <a:cubicBezTo>
                    <a:pt x="1248" y="197"/>
                    <a:pt x="1247" y="193"/>
                    <a:pt x="1245" y="187"/>
                  </a:cubicBezTo>
                  <a:lnTo>
                    <a:pt x="1010" y="1"/>
                  </a:lnTo>
                  <a:lnTo>
                    <a:pt x="538" y="1"/>
                  </a:lnTo>
                  <a:cubicBezTo>
                    <a:pt x="527" y="0"/>
                    <a:pt x="521" y="6"/>
                    <a:pt x="516" y="12"/>
                  </a:cubicBezTo>
                  <a:lnTo>
                    <a:pt x="358" y="170"/>
                  </a:lnTo>
                  <a:lnTo>
                    <a:pt x="13" y="227"/>
                  </a:lnTo>
                  <a:cubicBezTo>
                    <a:pt x="9" y="231"/>
                    <a:pt x="4" y="235"/>
                    <a:pt x="0" y="246"/>
                  </a:cubicBezTo>
                  <a:lnTo>
                    <a:pt x="1" y="365"/>
                  </a:lnTo>
                  <a:cubicBezTo>
                    <a:pt x="8" y="384"/>
                    <a:pt x="13" y="381"/>
                    <a:pt x="19" y="384"/>
                  </a:cubicBezTo>
                  <a:lnTo>
                    <a:pt x="85" y="384"/>
                  </a:lnTo>
                  <a:cubicBezTo>
                    <a:pt x="85" y="223"/>
                    <a:pt x="326" y="223"/>
                    <a:pt x="326" y="384"/>
                  </a:cubicBezTo>
                  <a:lnTo>
                    <a:pt x="938" y="384"/>
                  </a:lnTo>
                  <a:cubicBezTo>
                    <a:pt x="938" y="222"/>
                    <a:pt x="1177" y="223"/>
                    <a:pt x="1177" y="384"/>
                  </a:cubicBezTo>
                  <a:lnTo>
                    <a:pt x="1231" y="384"/>
                  </a:lnTo>
                  <a:cubicBezTo>
                    <a:pt x="1241" y="383"/>
                    <a:pt x="1246" y="375"/>
                    <a:pt x="1250" y="365"/>
                  </a:cubicBezTo>
                  <a:lnTo>
                    <a:pt x="1249" y="200"/>
                  </a:lnTo>
                  <a:close/>
                  <a:moveTo>
                    <a:pt x="743" y="193"/>
                  </a:moveTo>
                  <a:lnTo>
                    <a:pt x="416" y="193"/>
                  </a:lnTo>
                  <a:cubicBezTo>
                    <a:pt x="403" y="188"/>
                    <a:pt x="402" y="180"/>
                    <a:pt x="407" y="171"/>
                  </a:cubicBezTo>
                  <a:lnTo>
                    <a:pt x="524" y="55"/>
                  </a:lnTo>
                  <a:cubicBezTo>
                    <a:pt x="527" y="53"/>
                    <a:pt x="529" y="50"/>
                    <a:pt x="534" y="51"/>
                  </a:cubicBezTo>
                  <a:lnTo>
                    <a:pt x="743" y="51"/>
                  </a:lnTo>
                  <a:lnTo>
                    <a:pt x="743" y="193"/>
                  </a:lnTo>
                  <a:close/>
                  <a:moveTo>
                    <a:pt x="1081" y="193"/>
                  </a:moveTo>
                  <a:lnTo>
                    <a:pt x="781" y="193"/>
                  </a:lnTo>
                  <a:lnTo>
                    <a:pt x="781" y="51"/>
                  </a:lnTo>
                  <a:lnTo>
                    <a:pt x="957" y="51"/>
                  </a:lnTo>
                  <a:cubicBezTo>
                    <a:pt x="962" y="50"/>
                    <a:pt x="964" y="53"/>
                    <a:pt x="967" y="55"/>
                  </a:cubicBezTo>
                  <a:lnTo>
                    <a:pt x="1067" y="157"/>
                  </a:lnTo>
                  <a:cubicBezTo>
                    <a:pt x="1077" y="171"/>
                    <a:pt x="1095" y="190"/>
                    <a:pt x="1081" y="1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Car4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107" y="272"/>
              <a:ext cx="180" cy="181"/>
            </a:xfrm>
            <a:custGeom>
              <a:avLst/>
              <a:gdLst>
                <a:gd name="T0" fmla="*/ 98 w 196"/>
                <a:gd name="T1" fmla="*/ 0 h 195"/>
                <a:gd name="T2" fmla="*/ 0 w 196"/>
                <a:gd name="T3" fmla="*/ 97 h 195"/>
                <a:gd name="T4" fmla="*/ 98 w 196"/>
                <a:gd name="T5" fmla="*/ 195 h 195"/>
                <a:gd name="T6" fmla="*/ 196 w 196"/>
                <a:gd name="T7" fmla="*/ 97 h 195"/>
                <a:gd name="T8" fmla="*/ 98 w 196"/>
                <a:gd name="T9" fmla="*/ 0 h 195"/>
                <a:gd name="T10" fmla="*/ 98 w 196"/>
                <a:gd name="T11" fmla="*/ 138 h 195"/>
                <a:gd name="T12" fmla="*/ 57 w 196"/>
                <a:gd name="T13" fmla="*/ 97 h 195"/>
                <a:gd name="T14" fmla="*/ 98 w 196"/>
                <a:gd name="T15" fmla="*/ 56 h 195"/>
                <a:gd name="T16" fmla="*/ 139 w 196"/>
                <a:gd name="T17" fmla="*/ 97 h 195"/>
                <a:gd name="T18" fmla="*/ 98 w 196"/>
                <a:gd name="T19" fmla="*/ 13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5">
                  <a:moveTo>
                    <a:pt x="98" y="0"/>
                  </a:moveTo>
                  <a:cubicBezTo>
                    <a:pt x="44" y="0"/>
                    <a:pt x="0" y="43"/>
                    <a:pt x="0" y="97"/>
                  </a:cubicBezTo>
                  <a:cubicBezTo>
                    <a:pt x="0" y="151"/>
                    <a:pt x="44" y="195"/>
                    <a:pt x="98" y="195"/>
                  </a:cubicBezTo>
                  <a:cubicBezTo>
                    <a:pt x="152" y="195"/>
                    <a:pt x="196" y="151"/>
                    <a:pt x="196" y="97"/>
                  </a:cubicBezTo>
                  <a:cubicBezTo>
                    <a:pt x="196" y="43"/>
                    <a:pt x="152" y="0"/>
                    <a:pt x="98" y="0"/>
                  </a:cubicBezTo>
                  <a:close/>
                  <a:moveTo>
                    <a:pt x="98" y="138"/>
                  </a:moveTo>
                  <a:cubicBezTo>
                    <a:pt x="75" y="138"/>
                    <a:pt x="57" y="120"/>
                    <a:pt x="57" y="97"/>
                  </a:cubicBezTo>
                  <a:cubicBezTo>
                    <a:pt x="57" y="74"/>
                    <a:pt x="75" y="56"/>
                    <a:pt x="98" y="56"/>
                  </a:cubicBezTo>
                  <a:cubicBezTo>
                    <a:pt x="121" y="56"/>
                    <a:pt x="139" y="74"/>
                    <a:pt x="139" y="97"/>
                  </a:cubicBezTo>
                  <a:cubicBezTo>
                    <a:pt x="139" y="120"/>
                    <a:pt x="121" y="138"/>
                    <a:pt x="98" y="13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Car4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93" y="271"/>
              <a:ext cx="180" cy="182"/>
            </a:xfrm>
            <a:custGeom>
              <a:avLst/>
              <a:gdLst>
                <a:gd name="T0" fmla="*/ 98 w 195"/>
                <a:gd name="T1" fmla="*/ 0 h 196"/>
                <a:gd name="T2" fmla="*/ 0 w 195"/>
                <a:gd name="T3" fmla="*/ 98 h 196"/>
                <a:gd name="T4" fmla="*/ 98 w 195"/>
                <a:gd name="T5" fmla="*/ 196 h 196"/>
                <a:gd name="T6" fmla="*/ 195 w 195"/>
                <a:gd name="T7" fmla="*/ 98 h 196"/>
                <a:gd name="T8" fmla="*/ 98 w 195"/>
                <a:gd name="T9" fmla="*/ 0 h 196"/>
                <a:gd name="T10" fmla="*/ 98 w 195"/>
                <a:gd name="T11" fmla="*/ 139 h 196"/>
                <a:gd name="T12" fmla="*/ 57 w 195"/>
                <a:gd name="T13" fmla="*/ 98 h 196"/>
                <a:gd name="T14" fmla="*/ 98 w 195"/>
                <a:gd name="T15" fmla="*/ 57 h 196"/>
                <a:gd name="T16" fmla="*/ 139 w 195"/>
                <a:gd name="T17" fmla="*/ 98 h 196"/>
                <a:gd name="T18" fmla="*/ 98 w 195"/>
                <a:gd name="T19" fmla="*/ 13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6">
                  <a:moveTo>
                    <a:pt x="98" y="0"/>
                  </a:moveTo>
                  <a:cubicBezTo>
                    <a:pt x="44" y="0"/>
                    <a:pt x="0" y="44"/>
                    <a:pt x="0" y="98"/>
                  </a:cubicBezTo>
                  <a:cubicBezTo>
                    <a:pt x="0" y="152"/>
                    <a:pt x="44" y="196"/>
                    <a:pt x="98" y="196"/>
                  </a:cubicBezTo>
                  <a:cubicBezTo>
                    <a:pt x="152" y="196"/>
                    <a:pt x="195" y="152"/>
                    <a:pt x="195" y="98"/>
                  </a:cubicBezTo>
                  <a:cubicBezTo>
                    <a:pt x="195" y="44"/>
                    <a:pt x="152" y="0"/>
                    <a:pt x="98" y="0"/>
                  </a:cubicBezTo>
                  <a:close/>
                  <a:moveTo>
                    <a:pt x="98" y="139"/>
                  </a:moveTo>
                  <a:cubicBezTo>
                    <a:pt x="75" y="139"/>
                    <a:pt x="57" y="121"/>
                    <a:pt x="57" y="98"/>
                  </a:cubicBezTo>
                  <a:cubicBezTo>
                    <a:pt x="57" y="75"/>
                    <a:pt x="75" y="57"/>
                    <a:pt x="98" y="57"/>
                  </a:cubicBezTo>
                  <a:cubicBezTo>
                    <a:pt x="120" y="57"/>
                    <a:pt x="139" y="75"/>
                    <a:pt x="139" y="98"/>
                  </a:cubicBezTo>
                  <a:cubicBezTo>
                    <a:pt x="139" y="121"/>
                    <a:pt x="120" y="139"/>
                    <a:pt x="98" y="1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048311"/>
              </p:ext>
            </p:extLst>
          </p:nvPr>
        </p:nvGraphicFramePr>
        <p:xfrm>
          <a:off x="5748944" y="3032434"/>
          <a:ext cx="2859357" cy="2967046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859357">
                  <a:extLst>
                    <a:ext uri="{9D8B030D-6E8A-4147-A177-3AD203B41FA5}">
                      <a16:colId xmlns:a16="http://schemas.microsoft.com/office/drawing/2014/main" val="2721335279"/>
                    </a:ext>
                  </a:extLst>
                </a:gridCol>
              </a:tblGrid>
              <a:tr h="36865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6104761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odel</a:t>
                      </a:r>
                      <a:r>
                        <a:rPr lang="en-US" baseline="0" dirty="0" smtClean="0"/>
                        <a:t> : str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90105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rand : str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924235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ice : i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4711381"/>
                  </a:ext>
                </a:extLst>
              </a:tr>
              <a:tr h="40383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peed : i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6211279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ove(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7280696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change_gear</a:t>
                      </a:r>
                      <a:r>
                        <a:rPr lang="en-US" dirty="0" smtClean="0"/>
                        <a:t>(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3440341"/>
                  </a:ext>
                </a:extLst>
              </a:tr>
              <a:tr h="33053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celerate()</a:t>
                      </a:r>
                      <a:endParaRPr lang="en-US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2410088"/>
                  </a:ext>
                </a:extLst>
              </a:tr>
            </a:tbl>
          </a:graphicData>
        </a:graphic>
      </p:graphicFrame>
      <p:cxnSp>
        <p:nvCxnSpPr>
          <p:cNvPr id="28" name="Straight Connector 27"/>
          <p:cNvCxnSpPr/>
          <p:nvPr/>
        </p:nvCxnSpPr>
        <p:spPr>
          <a:xfrm flipH="1">
            <a:off x="5748943" y="4896383"/>
            <a:ext cx="285935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3876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AC40601-E775-4D71-B81A-963E900251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BE8100-DB04-4F97-8578-831797730E50}"/>
              </a:ext>
            </a:extLst>
          </p:cNvPr>
          <p:cNvSpPr/>
          <p:nvPr/>
        </p:nvSpPr>
        <p:spPr>
          <a:xfrm>
            <a:off x="471948" y="1245393"/>
            <a:ext cx="4906297" cy="4367214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7A2CAD-F612-4C35-BD04-BE170D92ACFB}"/>
              </a:ext>
            </a:extLst>
          </p:cNvPr>
          <p:cNvSpPr/>
          <p:nvPr/>
        </p:nvSpPr>
        <p:spPr>
          <a:xfrm>
            <a:off x="5535562" y="3530477"/>
            <a:ext cx="6302478" cy="197118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The main challenge is still ahead of us…</a:t>
            </a:r>
          </a:p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How to bundle all these properties and behaviors together and make it as one single property in our program?</a:t>
            </a:r>
          </a:p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So far we have learnt how to make different variables with different types of data and how to write functions…</a:t>
            </a:r>
          </a:p>
          <a:p>
            <a:pPr marL="285750" indent="-285750" algn="just">
              <a:lnSpc>
                <a:spcPct val="109000"/>
              </a:lnSpc>
              <a:buFontTx/>
              <a:buChar char="-"/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rPr>
              <a:t>Coding the program in the same style we have learnt in this example has some major problems…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8820F1-DAA8-4712-A895-C6577528312A}"/>
              </a:ext>
            </a:extLst>
          </p:cNvPr>
          <p:cNvSpPr txBox="1"/>
          <p:nvPr/>
        </p:nvSpPr>
        <p:spPr>
          <a:xfrm>
            <a:off x="471948" y="3581277"/>
            <a:ext cx="5338917" cy="4801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1. An Example to Begin With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71DC9C-E3FF-4B4B-AA5F-D0C6A20B2B73}"/>
              </a:ext>
            </a:extLst>
          </p:cNvPr>
          <p:cNvCxnSpPr/>
          <p:nvPr/>
        </p:nvCxnSpPr>
        <p:spPr>
          <a:xfrm>
            <a:off x="4596582" y="4099508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r6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854297" y="5543634"/>
            <a:ext cx="1109481" cy="926149"/>
          </a:xfrm>
          <a:custGeom>
            <a:avLst/>
            <a:gdLst>
              <a:gd name="T0" fmla="*/ 425 w 450"/>
              <a:gd name="T1" fmla="*/ 100 h 375"/>
              <a:gd name="T2" fmla="*/ 375 w 450"/>
              <a:gd name="T3" fmla="*/ 100 h 375"/>
              <a:gd name="T4" fmla="*/ 363 w 450"/>
              <a:gd name="T5" fmla="*/ 32 h 375"/>
              <a:gd name="T6" fmla="*/ 303 w 450"/>
              <a:gd name="T7" fmla="*/ 0 h 375"/>
              <a:gd name="T8" fmla="*/ 225 w 450"/>
              <a:gd name="T9" fmla="*/ 0 h 375"/>
              <a:gd name="T10" fmla="*/ 148 w 450"/>
              <a:gd name="T11" fmla="*/ 0 h 375"/>
              <a:gd name="T12" fmla="*/ 88 w 450"/>
              <a:gd name="T13" fmla="*/ 32 h 375"/>
              <a:gd name="T14" fmla="*/ 75 w 450"/>
              <a:gd name="T15" fmla="*/ 100 h 375"/>
              <a:gd name="T16" fmla="*/ 25 w 450"/>
              <a:gd name="T17" fmla="*/ 100 h 375"/>
              <a:gd name="T18" fmla="*/ 0 w 450"/>
              <a:gd name="T19" fmla="*/ 125 h 375"/>
              <a:gd name="T20" fmla="*/ 25 w 450"/>
              <a:gd name="T21" fmla="*/ 150 h 375"/>
              <a:gd name="T22" fmla="*/ 48 w 450"/>
              <a:gd name="T23" fmla="*/ 150 h 375"/>
              <a:gd name="T24" fmla="*/ 38 w 450"/>
              <a:gd name="T25" fmla="*/ 175 h 375"/>
              <a:gd name="T26" fmla="*/ 38 w 450"/>
              <a:gd name="T27" fmla="*/ 275 h 375"/>
              <a:gd name="T28" fmla="*/ 75 w 450"/>
              <a:gd name="T29" fmla="*/ 312 h 375"/>
              <a:gd name="T30" fmla="*/ 88 w 450"/>
              <a:gd name="T31" fmla="*/ 312 h 375"/>
              <a:gd name="T32" fmla="*/ 88 w 450"/>
              <a:gd name="T33" fmla="*/ 343 h 375"/>
              <a:gd name="T34" fmla="*/ 119 w 450"/>
              <a:gd name="T35" fmla="*/ 375 h 375"/>
              <a:gd name="T36" fmla="*/ 150 w 450"/>
              <a:gd name="T37" fmla="*/ 343 h 375"/>
              <a:gd name="T38" fmla="*/ 150 w 450"/>
              <a:gd name="T39" fmla="*/ 312 h 375"/>
              <a:gd name="T40" fmla="*/ 300 w 450"/>
              <a:gd name="T41" fmla="*/ 312 h 375"/>
              <a:gd name="T42" fmla="*/ 300 w 450"/>
              <a:gd name="T43" fmla="*/ 343 h 375"/>
              <a:gd name="T44" fmla="*/ 331 w 450"/>
              <a:gd name="T45" fmla="*/ 375 h 375"/>
              <a:gd name="T46" fmla="*/ 363 w 450"/>
              <a:gd name="T47" fmla="*/ 343 h 375"/>
              <a:gd name="T48" fmla="*/ 363 w 450"/>
              <a:gd name="T49" fmla="*/ 312 h 375"/>
              <a:gd name="T50" fmla="*/ 375 w 450"/>
              <a:gd name="T51" fmla="*/ 312 h 375"/>
              <a:gd name="T52" fmla="*/ 413 w 450"/>
              <a:gd name="T53" fmla="*/ 275 h 375"/>
              <a:gd name="T54" fmla="*/ 413 w 450"/>
              <a:gd name="T55" fmla="*/ 175 h 375"/>
              <a:gd name="T56" fmla="*/ 403 w 450"/>
              <a:gd name="T57" fmla="*/ 150 h 375"/>
              <a:gd name="T58" fmla="*/ 425 w 450"/>
              <a:gd name="T59" fmla="*/ 150 h 375"/>
              <a:gd name="T60" fmla="*/ 450 w 450"/>
              <a:gd name="T61" fmla="*/ 125 h 375"/>
              <a:gd name="T62" fmla="*/ 425 w 450"/>
              <a:gd name="T63" fmla="*/ 100 h 375"/>
              <a:gd name="T64" fmla="*/ 315 w 450"/>
              <a:gd name="T65" fmla="*/ 50 h 375"/>
              <a:gd name="T66" fmla="*/ 333 w 450"/>
              <a:gd name="T67" fmla="*/ 137 h 375"/>
              <a:gd name="T68" fmla="*/ 118 w 450"/>
              <a:gd name="T69" fmla="*/ 137 h 375"/>
              <a:gd name="T70" fmla="*/ 135 w 450"/>
              <a:gd name="T71" fmla="*/ 50 h 375"/>
              <a:gd name="T72" fmla="*/ 315 w 450"/>
              <a:gd name="T73" fmla="*/ 50 h 375"/>
              <a:gd name="T74" fmla="*/ 113 w 450"/>
              <a:gd name="T75" fmla="*/ 225 h 375"/>
              <a:gd name="T76" fmla="*/ 88 w 450"/>
              <a:gd name="T77" fmla="*/ 200 h 375"/>
              <a:gd name="T78" fmla="*/ 113 w 450"/>
              <a:gd name="T79" fmla="*/ 175 h 375"/>
              <a:gd name="T80" fmla="*/ 138 w 450"/>
              <a:gd name="T81" fmla="*/ 200 h 375"/>
              <a:gd name="T82" fmla="*/ 113 w 450"/>
              <a:gd name="T83" fmla="*/ 225 h 375"/>
              <a:gd name="T84" fmla="*/ 338 w 450"/>
              <a:gd name="T85" fmla="*/ 225 h 375"/>
              <a:gd name="T86" fmla="*/ 313 w 450"/>
              <a:gd name="T87" fmla="*/ 200 h 375"/>
              <a:gd name="T88" fmla="*/ 338 w 450"/>
              <a:gd name="T89" fmla="*/ 175 h 375"/>
              <a:gd name="T90" fmla="*/ 363 w 450"/>
              <a:gd name="T91" fmla="*/ 200 h 375"/>
              <a:gd name="T92" fmla="*/ 338 w 450"/>
              <a:gd name="T93" fmla="*/ 225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0" h="375">
                <a:moveTo>
                  <a:pt x="425" y="100"/>
                </a:moveTo>
                <a:lnTo>
                  <a:pt x="375" y="100"/>
                </a:lnTo>
                <a:lnTo>
                  <a:pt x="363" y="32"/>
                </a:lnTo>
                <a:cubicBezTo>
                  <a:pt x="355" y="0"/>
                  <a:pt x="321" y="0"/>
                  <a:pt x="303" y="0"/>
                </a:cubicBezTo>
                <a:lnTo>
                  <a:pt x="225" y="0"/>
                </a:lnTo>
                <a:lnTo>
                  <a:pt x="148" y="0"/>
                </a:lnTo>
                <a:cubicBezTo>
                  <a:pt x="129" y="0"/>
                  <a:pt x="94" y="0"/>
                  <a:pt x="88" y="32"/>
                </a:cubicBezTo>
                <a:lnTo>
                  <a:pt x="75" y="100"/>
                </a:lnTo>
                <a:lnTo>
                  <a:pt x="25" y="100"/>
                </a:lnTo>
                <a:cubicBezTo>
                  <a:pt x="11" y="100"/>
                  <a:pt x="0" y="111"/>
                  <a:pt x="0" y="125"/>
                </a:cubicBezTo>
                <a:cubicBezTo>
                  <a:pt x="0" y="138"/>
                  <a:pt x="11" y="150"/>
                  <a:pt x="25" y="150"/>
                </a:cubicBezTo>
                <a:lnTo>
                  <a:pt x="48" y="150"/>
                </a:lnTo>
                <a:cubicBezTo>
                  <a:pt x="41" y="156"/>
                  <a:pt x="38" y="165"/>
                  <a:pt x="38" y="175"/>
                </a:cubicBezTo>
                <a:lnTo>
                  <a:pt x="38" y="275"/>
                </a:lnTo>
                <a:cubicBezTo>
                  <a:pt x="38" y="295"/>
                  <a:pt x="54" y="312"/>
                  <a:pt x="75" y="312"/>
                </a:cubicBezTo>
                <a:lnTo>
                  <a:pt x="88" y="312"/>
                </a:lnTo>
                <a:lnTo>
                  <a:pt x="88" y="343"/>
                </a:lnTo>
                <a:cubicBezTo>
                  <a:pt x="88" y="361"/>
                  <a:pt x="101" y="375"/>
                  <a:pt x="119" y="375"/>
                </a:cubicBezTo>
                <a:cubicBezTo>
                  <a:pt x="136" y="375"/>
                  <a:pt x="150" y="361"/>
                  <a:pt x="150" y="343"/>
                </a:cubicBezTo>
                <a:lnTo>
                  <a:pt x="150" y="312"/>
                </a:lnTo>
                <a:lnTo>
                  <a:pt x="300" y="312"/>
                </a:lnTo>
                <a:lnTo>
                  <a:pt x="300" y="343"/>
                </a:lnTo>
                <a:cubicBezTo>
                  <a:pt x="300" y="361"/>
                  <a:pt x="314" y="375"/>
                  <a:pt x="331" y="375"/>
                </a:cubicBezTo>
                <a:cubicBezTo>
                  <a:pt x="349" y="375"/>
                  <a:pt x="363" y="361"/>
                  <a:pt x="363" y="343"/>
                </a:cubicBezTo>
                <a:lnTo>
                  <a:pt x="363" y="312"/>
                </a:lnTo>
                <a:lnTo>
                  <a:pt x="375" y="312"/>
                </a:lnTo>
                <a:cubicBezTo>
                  <a:pt x="396" y="312"/>
                  <a:pt x="413" y="295"/>
                  <a:pt x="413" y="275"/>
                </a:cubicBezTo>
                <a:lnTo>
                  <a:pt x="413" y="175"/>
                </a:lnTo>
                <a:cubicBezTo>
                  <a:pt x="413" y="165"/>
                  <a:pt x="409" y="156"/>
                  <a:pt x="403" y="150"/>
                </a:cubicBezTo>
                <a:lnTo>
                  <a:pt x="425" y="150"/>
                </a:lnTo>
                <a:cubicBezTo>
                  <a:pt x="439" y="150"/>
                  <a:pt x="450" y="138"/>
                  <a:pt x="450" y="125"/>
                </a:cubicBezTo>
                <a:cubicBezTo>
                  <a:pt x="450" y="111"/>
                  <a:pt x="439" y="100"/>
                  <a:pt x="425" y="100"/>
                </a:cubicBezTo>
                <a:close/>
                <a:moveTo>
                  <a:pt x="315" y="50"/>
                </a:moveTo>
                <a:lnTo>
                  <a:pt x="333" y="137"/>
                </a:lnTo>
                <a:lnTo>
                  <a:pt x="118" y="137"/>
                </a:lnTo>
                <a:lnTo>
                  <a:pt x="135" y="50"/>
                </a:lnTo>
                <a:lnTo>
                  <a:pt x="315" y="50"/>
                </a:lnTo>
                <a:close/>
                <a:moveTo>
                  <a:pt x="113" y="225"/>
                </a:moveTo>
                <a:cubicBezTo>
                  <a:pt x="99" y="225"/>
                  <a:pt x="88" y="213"/>
                  <a:pt x="88" y="200"/>
                </a:cubicBezTo>
                <a:cubicBezTo>
                  <a:pt x="88" y="186"/>
                  <a:pt x="99" y="175"/>
                  <a:pt x="113" y="175"/>
                </a:cubicBezTo>
                <a:cubicBezTo>
                  <a:pt x="126" y="175"/>
                  <a:pt x="138" y="186"/>
                  <a:pt x="138" y="200"/>
                </a:cubicBezTo>
                <a:cubicBezTo>
                  <a:pt x="138" y="213"/>
                  <a:pt x="126" y="225"/>
                  <a:pt x="113" y="225"/>
                </a:cubicBezTo>
                <a:close/>
                <a:moveTo>
                  <a:pt x="338" y="225"/>
                </a:moveTo>
                <a:cubicBezTo>
                  <a:pt x="324" y="225"/>
                  <a:pt x="313" y="213"/>
                  <a:pt x="313" y="200"/>
                </a:cubicBezTo>
                <a:cubicBezTo>
                  <a:pt x="313" y="186"/>
                  <a:pt x="324" y="175"/>
                  <a:pt x="338" y="175"/>
                </a:cubicBezTo>
                <a:cubicBezTo>
                  <a:pt x="351" y="175"/>
                  <a:pt x="363" y="186"/>
                  <a:pt x="363" y="200"/>
                </a:cubicBezTo>
                <a:cubicBezTo>
                  <a:pt x="363" y="213"/>
                  <a:pt x="351" y="225"/>
                  <a:pt x="338" y="22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Car5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810865" y="5593630"/>
            <a:ext cx="1013912" cy="876153"/>
          </a:xfrm>
          <a:custGeom>
            <a:avLst/>
            <a:gdLst>
              <a:gd name="T0" fmla="*/ 1137 w 1250"/>
              <a:gd name="T1" fmla="*/ 359 h 1079"/>
              <a:gd name="T2" fmla="*/ 1034 w 1250"/>
              <a:gd name="T3" fmla="*/ 94 h 1079"/>
              <a:gd name="T4" fmla="*/ 894 w 1250"/>
              <a:gd name="T5" fmla="*/ 0 h 1079"/>
              <a:gd name="T6" fmla="*/ 749 w 1250"/>
              <a:gd name="T7" fmla="*/ 0 h 1079"/>
              <a:gd name="T8" fmla="*/ 502 w 1250"/>
              <a:gd name="T9" fmla="*/ 0 h 1079"/>
              <a:gd name="T10" fmla="*/ 355 w 1250"/>
              <a:gd name="T11" fmla="*/ 0 h 1079"/>
              <a:gd name="T12" fmla="*/ 215 w 1250"/>
              <a:gd name="T13" fmla="*/ 94 h 1079"/>
              <a:gd name="T14" fmla="*/ 113 w 1250"/>
              <a:gd name="T15" fmla="*/ 359 h 1079"/>
              <a:gd name="T16" fmla="*/ 0 w 1250"/>
              <a:gd name="T17" fmla="*/ 502 h 1079"/>
              <a:gd name="T18" fmla="*/ 0 w 1250"/>
              <a:gd name="T19" fmla="*/ 839 h 1079"/>
              <a:gd name="T20" fmla="*/ 100 w 1250"/>
              <a:gd name="T21" fmla="*/ 839 h 1079"/>
              <a:gd name="T22" fmla="*/ 100 w 1250"/>
              <a:gd name="T23" fmla="*/ 947 h 1079"/>
              <a:gd name="T24" fmla="*/ 287 w 1250"/>
              <a:gd name="T25" fmla="*/ 947 h 1079"/>
              <a:gd name="T26" fmla="*/ 287 w 1250"/>
              <a:gd name="T27" fmla="*/ 839 h 1079"/>
              <a:gd name="T28" fmla="*/ 625 w 1250"/>
              <a:gd name="T29" fmla="*/ 839 h 1079"/>
              <a:gd name="T30" fmla="*/ 962 w 1250"/>
              <a:gd name="T31" fmla="*/ 839 h 1079"/>
              <a:gd name="T32" fmla="*/ 962 w 1250"/>
              <a:gd name="T33" fmla="*/ 947 h 1079"/>
              <a:gd name="T34" fmla="*/ 1150 w 1250"/>
              <a:gd name="T35" fmla="*/ 947 h 1079"/>
              <a:gd name="T36" fmla="*/ 1150 w 1250"/>
              <a:gd name="T37" fmla="*/ 839 h 1079"/>
              <a:gd name="T38" fmla="*/ 1250 w 1250"/>
              <a:gd name="T39" fmla="*/ 839 h 1079"/>
              <a:gd name="T40" fmla="*/ 1250 w 1250"/>
              <a:gd name="T41" fmla="*/ 502 h 1079"/>
              <a:gd name="T42" fmla="*/ 1137 w 1250"/>
              <a:gd name="T43" fmla="*/ 359 h 1079"/>
              <a:gd name="T44" fmla="*/ 197 w 1250"/>
              <a:gd name="T45" fmla="*/ 636 h 1079"/>
              <a:gd name="T46" fmla="*/ 110 w 1250"/>
              <a:gd name="T47" fmla="*/ 547 h 1079"/>
              <a:gd name="T48" fmla="*/ 197 w 1250"/>
              <a:gd name="T49" fmla="*/ 458 h 1079"/>
              <a:gd name="T50" fmla="*/ 283 w 1250"/>
              <a:gd name="T51" fmla="*/ 547 h 1079"/>
              <a:gd name="T52" fmla="*/ 197 w 1250"/>
              <a:gd name="T53" fmla="*/ 636 h 1079"/>
              <a:gd name="T54" fmla="*/ 625 w 1250"/>
              <a:gd name="T55" fmla="*/ 356 h 1079"/>
              <a:gd name="T56" fmla="*/ 624 w 1250"/>
              <a:gd name="T57" fmla="*/ 356 h 1079"/>
              <a:gd name="T58" fmla="*/ 219 w 1250"/>
              <a:gd name="T59" fmla="*/ 356 h 1079"/>
              <a:gd name="T60" fmla="*/ 297 w 1250"/>
              <a:gd name="T61" fmla="*/ 148 h 1079"/>
              <a:gd name="T62" fmla="*/ 355 w 1250"/>
              <a:gd name="T63" fmla="*/ 97 h 1079"/>
              <a:gd name="T64" fmla="*/ 624 w 1250"/>
              <a:gd name="T65" fmla="*/ 97 h 1079"/>
              <a:gd name="T66" fmla="*/ 625 w 1250"/>
              <a:gd name="T67" fmla="*/ 97 h 1079"/>
              <a:gd name="T68" fmla="*/ 896 w 1250"/>
              <a:gd name="T69" fmla="*/ 97 h 1079"/>
              <a:gd name="T70" fmla="*/ 953 w 1250"/>
              <a:gd name="T71" fmla="*/ 148 h 1079"/>
              <a:gd name="T72" fmla="*/ 1031 w 1250"/>
              <a:gd name="T73" fmla="*/ 356 h 1079"/>
              <a:gd name="T74" fmla="*/ 625 w 1250"/>
              <a:gd name="T75" fmla="*/ 356 h 1079"/>
              <a:gd name="T76" fmla="*/ 1053 w 1250"/>
              <a:gd name="T77" fmla="*/ 636 h 1079"/>
              <a:gd name="T78" fmla="*/ 966 w 1250"/>
              <a:gd name="T79" fmla="*/ 547 h 1079"/>
              <a:gd name="T80" fmla="*/ 1053 w 1250"/>
              <a:gd name="T81" fmla="*/ 458 h 1079"/>
              <a:gd name="T82" fmla="*/ 1140 w 1250"/>
              <a:gd name="T83" fmla="*/ 547 h 1079"/>
              <a:gd name="T84" fmla="*/ 1053 w 1250"/>
              <a:gd name="T85" fmla="*/ 636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50" h="1079">
                <a:moveTo>
                  <a:pt x="1137" y="359"/>
                </a:moveTo>
                <a:lnTo>
                  <a:pt x="1034" y="94"/>
                </a:lnTo>
                <a:cubicBezTo>
                  <a:pt x="1015" y="43"/>
                  <a:pt x="973" y="0"/>
                  <a:pt x="894" y="0"/>
                </a:cubicBezTo>
                <a:lnTo>
                  <a:pt x="749" y="0"/>
                </a:lnTo>
                <a:lnTo>
                  <a:pt x="502" y="0"/>
                </a:lnTo>
                <a:lnTo>
                  <a:pt x="355" y="0"/>
                </a:lnTo>
                <a:cubicBezTo>
                  <a:pt x="276" y="0"/>
                  <a:pt x="235" y="43"/>
                  <a:pt x="215" y="94"/>
                </a:cubicBezTo>
                <a:lnTo>
                  <a:pt x="113" y="359"/>
                </a:lnTo>
                <a:cubicBezTo>
                  <a:pt x="72" y="364"/>
                  <a:pt x="0" y="412"/>
                  <a:pt x="0" y="502"/>
                </a:cubicBezTo>
                <a:lnTo>
                  <a:pt x="0" y="839"/>
                </a:lnTo>
                <a:lnTo>
                  <a:pt x="100" y="839"/>
                </a:lnTo>
                <a:lnTo>
                  <a:pt x="100" y="947"/>
                </a:lnTo>
                <a:cubicBezTo>
                  <a:pt x="100" y="1079"/>
                  <a:pt x="287" y="1078"/>
                  <a:pt x="287" y="947"/>
                </a:cubicBezTo>
                <a:lnTo>
                  <a:pt x="287" y="839"/>
                </a:lnTo>
                <a:lnTo>
                  <a:pt x="625" y="839"/>
                </a:lnTo>
                <a:lnTo>
                  <a:pt x="962" y="839"/>
                </a:lnTo>
                <a:lnTo>
                  <a:pt x="962" y="947"/>
                </a:lnTo>
                <a:cubicBezTo>
                  <a:pt x="962" y="1078"/>
                  <a:pt x="1150" y="1079"/>
                  <a:pt x="1150" y="947"/>
                </a:cubicBezTo>
                <a:lnTo>
                  <a:pt x="1150" y="839"/>
                </a:lnTo>
                <a:lnTo>
                  <a:pt x="1250" y="839"/>
                </a:lnTo>
                <a:lnTo>
                  <a:pt x="1250" y="502"/>
                </a:lnTo>
                <a:cubicBezTo>
                  <a:pt x="1250" y="412"/>
                  <a:pt x="1178" y="364"/>
                  <a:pt x="1137" y="359"/>
                </a:cubicBezTo>
                <a:close/>
                <a:moveTo>
                  <a:pt x="197" y="636"/>
                </a:moveTo>
                <a:cubicBezTo>
                  <a:pt x="149" y="636"/>
                  <a:pt x="110" y="596"/>
                  <a:pt x="110" y="547"/>
                </a:cubicBezTo>
                <a:cubicBezTo>
                  <a:pt x="110" y="497"/>
                  <a:pt x="149" y="457"/>
                  <a:pt x="197" y="458"/>
                </a:cubicBezTo>
                <a:cubicBezTo>
                  <a:pt x="244" y="457"/>
                  <a:pt x="283" y="497"/>
                  <a:pt x="283" y="547"/>
                </a:cubicBezTo>
                <a:cubicBezTo>
                  <a:pt x="283" y="596"/>
                  <a:pt x="244" y="636"/>
                  <a:pt x="197" y="636"/>
                </a:cubicBezTo>
                <a:close/>
                <a:moveTo>
                  <a:pt x="625" y="356"/>
                </a:moveTo>
                <a:lnTo>
                  <a:pt x="624" y="356"/>
                </a:lnTo>
                <a:lnTo>
                  <a:pt x="219" y="356"/>
                </a:lnTo>
                <a:lnTo>
                  <a:pt x="297" y="148"/>
                </a:lnTo>
                <a:cubicBezTo>
                  <a:pt x="306" y="118"/>
                  <a:pt x="320" y="97"/>
                  <a:pt x="355" y="97"/>
                </a:cubicBezTo>
                <a:lnTo>
                  <a:pt x="624" y="97"/>
                </a:lnTo>
                <a:lnTo>
                  <a:pt x="625" y="97"/>
                </a:lnTo>
                <a:lnTo>
                  <a:pt x="896" y="97"/>
                </a:lnTo>
                <a:cubicBezTo>
                  <a:pt x="929" y="97"/>
                  <a:pt x="944" y="118"/>
                  <a:pt x="953" y="148"/>
                </a:cubicBezTo>
                <a:lnTo>
                  <a:pt x="1031" y="356"/>
                </a:lnTo>
                <a:lnTo>
                  <a:pt x="625" y="356"/>
                </a:lnTo>
                <a:close/>
                <a:moveTo>
                  <a:pt x="1053" y="636"/>
                </a:moveTo>
                <a:cubicBezTo>
                  <a:pt x="1005" y="636"/>
                  <a:pt x="966" y="596"/>
                  <a:pt x="966" y="547"/>
                </a:cubicBezTo>
                <a:cubicBezTo>
                  <a:pt x="966" y="497"/>
                  <a:pt x="1005" y="457"/>
                  <a:pt x="1053" y="458"/>
                </a:cubicBezTo>
                <a:cubicBezTo>
                  <a:pt x="1101" y="457"/>
                  <a:pt x="1140" y="497"/>
                  <a:pt x="1140" y="547"/>
                </a:cubicBezTo>
                <a:cubicBezTo>
                  <a:pt x="1140" y="596"/>
                  <a:pt x="1101" y="636"/>
                  <a:pt x="1053" y="6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axi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9993298" y="5568632"/>
            <a:ext cx="1114596" cy="926149"/>
          </a:xfrm>
          <a:custGeom>
            <a:avLst/>
            <a:gdLst>
              <a:gd name="T0" fmla="*/ 616 w 733"/>
              <a:gd name="T1" fmla="*/ 475 h 608"/>
              <a:gd name="T2" fmla="*/ 566 w 733"/>
              <a:gd name="T3" fmla="*/ 425 h 608"/>
              <a:gd name="T4" fmla="*/ 616 w 733"/>
              <a:gd name="T5" fmla="*/ 375 h 608"/>
              <a:gd name="T6" fmla="*/ 666 w 733"/>
              <a:gd name="T7" fmla="*/ 425 h 608"/>
              <a:gd name="T8" fmla="*/ 616 w 733"/>
              <a:gd name="T9" fmla="*/ 475 h 608"/>
              <a:gd name="T10" fmla="*/ 134 w 733"/>
              <a:gd name="T11" fmla="*/ 275 h 608"/>
              <a:gd name="T12" fmla="*/ 165 w 733"/>
              <a:gd name="T13" fmla="*/ 167 h 608"/>
              <a:gd name="T14" fmla="*/ 200 w 733"/>
              <a:gd name="T15" fmla="*/ 125 h 608"/>
              <a:gd name="T16" fmla="*/ 533 w 733"/>
              <a:gd name="T17" fmla="*/ 125 h 608"/>
              <a:gd name="T18" fmla="*/ 567 w 733"/>
              <a:gd name="T19" fmla="*/ 167 h 608"/>
              <a:gd name="T20" fmla="*/ 596 w 733"/>
              <a:gd name="T21" fmla="*/ 275 h 608"/>
              <a:gd name="T22" fmla="*/ 134 w 733"/>
              <a:gd name="T23" fmla="*/ 275 h 608"/>
              <a:gd name="T24" fmla="*/ 116 w 733"/>
              <a:gd name="T25" fmla="*/ 475 h 608"/>
              <a:gd name="T26" fmla="*/ 66 w 733"/>
              <a:gd name="T27" fmla="*/ 425 h 608"/>
              <a:gd name="T28" fmla="*/ 116 w 733"/>
              <a:gd name="T29" fmla="*/ 375 h 608"/>
              <a:gd name="T30" fmla="*/ 166 w 733"/>
              <a:gd name="T31" fmla="*/ 425 h 608"/>
              <a:gd name="T32" fmla="*/ 116 w 733"/>
              <a:gd name="T33" fmla="*/ 475 h 608"/>
              <a:gd name="T34" fmla="*/ 666 w 733"/>
              <a:gd name="T35" fmla="*/ 281 h 608"/>
              <a:gd name="T36" fmla="*/ 632 w 733"/>
              <a:gd name="T37" fmla="*/ 150 h 608"/>
              <a:gd name="T38" fmla="*/ 533 w 733"/>
              <a:gd name="T39" fmla="*/ 58 h 608"/>
              <a:gd name="T40" fmla="*/ 493 w 733"/>
              <a:gd name="T41" fmla="*/ 58 h 608"/>
              <a:gd name="T42" fmla="*/ 493 w 733"/>
              <a:gd name="T43" fmla="*/ 56 h 608"/>
              <a:gd name="T44" fmla="*/ 492 w 733"/>
              <a:gd name="T45" fmla="*/ 51 h 608"/>
              <a:gd name="T46" fmla="*/ 433 w 733"/>
              <a:gd name="T47" fmla="*/ 0 h 608"/>
              <a:gd name="T48" fmla="*/ 298 w 733"/>
              <a:gd name="T49" fmla="*/ 0 h 608"/>
              <a:gd name="T50" fmla="*/ 239 w 733"/>
              <a:gd name="T51" fmla="*/ 51 h 608"/>
              <a:gd name="T52" fmla="*/ 238 w 733"/>
              <a:gd name="T53" fmla="*/ 54 h 608"/>
              <a:gd name="T54" fmla="*/ 238 w 733"/>
              <a:gd name="T55" fmla="*/ 58 h 608"/>
              <a:gd name="T56" fmla="*/ 200 w 733"/>
              <a:gd name="T57" fmla="*/ 58 h 608"/>
              <a:gd name="T58" fmla="*/ 101 w 733"/>
              <a:gd name="T59" fmla="*/ 149 h 608"/>
              <a:gd name="T60" fmla="*/ 63 w 733"/>
              <a:gd name="T61" fmla="*/ 282 h 608"/>
              <a:gd name="T62" fmla="*/ 0 w 733"/>
              <a:gd name="T63" fmla="*/ 375 h 608"/>
              <a:gd name="T64" fmla="*/ 0 w 733"/>
              <a:gd name="T65" fmla="*/ 442 h 608"/>
              <a:gd name="T66" fmla="*/ 66 w 733"/>
              <a:gd name="T67" fmla="*/ 536 h 608"/>
              <a:gd name="T68" fmla="*/ 66 w 733"/>
              <a:gd name="T69" fmla="*/ 575 h 608"/>
              <a:gd name="T70" fmla="*/ 100 w 733"/>
              <a:gd name="T71" fmla="*/ 608 h 608"/>
              <a:gd name="T72" fmla="*/ 133 w 733"/>
              <a:gd name="T73" fmla="*/ 608 h 608"/>
              <a:gd name="T74" fmla="*/ 166 w 733"/>
              <a:gd name="T75" fmla="*/ 575 h 608"/>
              <a:gd name="T76" fmla="*/ 166 w 733"/>
              <a:gd name="T77" fmla="*/ 542 h 608"/>
              <a:gd name="T78" fmla="*/ 566 w 733"/>
              <a:gd name="T79" fmla="*/ 542 h 608"/>
              <a:gd name="T80" fmla="*/ 566 w 733"/>
              <a:gd name="T81" fmla="*/ 575 h 608"/>
              <a:gd name="T82" fmla="*/ 600 w 733"/>
              <a:gd name="T83" fmla="*/ 608 h 608"/>
              <a:gd name="T84" fmla="*/ 633 w 733"/>
              <a:gd name="T85" fmla="*/ 608 h 608"/>
              <a:gd name="T86" fmla="*/ 666 w 733"/>
              <a:gd name="T87" fmla="*/ 575 h 608"/>
              <a:gd name="T88" fmla="*/ 666 w 733"/>
              <a:gd name="T89" fmla="*/ 536 h 608"/>
              <a:gd name="T90" fmla="*/ 733 w 733"/>
              <a:gd name="T91" fmla="*/ 442 h 608"/>
              <a:gd name="T92" fmla="*/ 733 w 733"/>
              <a:gd name="T93" fmla="*/ 375 h 608"/>
              <a:gd name="T94" fmla="*/ 666 w 733"/>
              <a:gd name="T95" fmla="*/ 281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33" h="608">
                <a:moveTo>
                  <a:pt x="616" y="475"/>
                </a:moveTo>
                <a:cubicBezTo>
                  <a:pt x="589" y="475"/>
                  <a:pt x="566" y="453"/>
                  <a:pt x="566" y="425"/>
                </a:cubicBezTo>
                <a:cubicBezTo>
                  <a:pt x="566" y="397"/>
                  <a:pt x="589" y="375"/>
                  <a:pt x="616" y="375"/>
                </a:cubicBezTo>
                <a:cubicBezTo>
                  <a:pt x="644" y="375"/>
                  <a:pt x="666" y="397"/>
                  <a:pt x="666" y="425"/>
                </a:cubicBezTo>
                <a:cubicBezTo>
                  <a:pt x="666" y="453"/>
                  <a:pt x="644" y="475"/>
                  <a:pt x="616" y="475"/>
                </a:cubicBezTo>
                <a:close/>
                <a:moveTo>
                  <a:pt x="134" y="275"/>
                </a:moveTo>
                <a:lnTo>
                  <a:pt x="165" y="167"/>
                </a:lnTo>
                <a:cubicBezTo>
                  <a:pt x="169" y="154"/>
                  <a:pt x="179" y="125"/>
                  <a:pt x="200" y="125"/>
                </a:cubicBezTo>
                <a:lnTo>
                  <a:pt x="533" y="125"/>
                </a:lnTo>
                <a:cubicBezTo>
                  <a:pt x="554" y="125"/>
                  <a:pt x="564" y="154"/>
                  <a:pt x="567" y="167"/>
                </a:cubicBezTo>
                <a:lnTo>
                  <a:pt x="596" y="275"/>
                </a:lnTo>
                <a:lnTo>
                  <a:pt x="134" y="275"/>
                </a:lnTo>
                <a:close/>
                <a:moveTo>
                  <a:pt x="116" y="475"/>
                </a:moveTo>
                <a:cubicBezTo>
                  <a:pt x="89" y="475"/>
                  <a:pt x="66" y="453"/>
                  <a:pt x="66" y="425"/>
                </a:cubicBezTo>
                <a:cubicBezTo>
                  <a:pt x="66" y="397"/>
                  <a:pt x="89" y="375"/>
                  <a:pt x="116" y="375"/>
                </a:cubicBezTo>
                <a:cubicBezTo>
                  <a:pt x="144" y="375"/>
                  <a:pt x="166" y="397"/>
                  <a:pt x="166" y="425"/>
                </a:cubicBezTo>
                <a:cubicBezTo>
                  <a:pt x="166" y="453"/>
                  <a:pt x="144" y="475"/>
                  <a:pt x="116" y="475"/>
                </a:cubicBezTo>
                <a:close/>
                <a:moveTo>
                  <a:pt x="666" y="281"/>
                </a:moveTo>
                <a:lnTo>
                  <a:pt x="632" y="150"/>
                </a:lnTo>
                <a:cubicBezTo>
                  <a:pt x="616" y="92"/>
                  <a:pt x="579" y="58"/>
                  <a:pt x="533" y="58"/>
                </a:cubicBezTo>
                <a:lnTo>
                  <a:pt x="493" y="58"/>
                </a:lnTo>
                <a:lnTo>
                  <a:pt x="493" y="56"/>
                </a:lnTo>
                <a:lnTo>
                  <a:pt x="492" y="51"/>
                </a:lnTo>
                <a:cubicBezTo>
                  <a:pt x="483" y="19"/>
                  <a:pt x="461" y="0"/>
                  <a:pt x="433" y="0"/>
                </a:cubicBezTo>
                <a:lnTo>
                  <a:pt x="298" y="0"/>
                </a:lnTo>
                <a:cubicBezTo>
                  <a:pt x="270" y="0"/>
                  <a:pt x="247" y="19"/>
                  <a:pt x="239" y="51"/>
                </a:cubicBezTo>
                <a:lnTo>
                  <a:pt x="238" y="54"/>
                </a:lnTo>
                <a:lnTo>
                  <a:pt x="238" y="58"/>
                </a:lnTo>
                <a:lnTo>
                  <a:pt x="200" y="58"/>
                </a:lnTo>
                <a:cubicBezTo>
                  <a:pt x="153" y="58"/>
                  <a:pt x="116" y="92"/>
                  <a:pt x="101" y="149"/>
                </a:cubicBezTo>
                <a:lnTo>
                  <a:pt x="63" y="282"/>
                </a:lnTo>
                <a:cubicBezTo>
                  <a:pt x="26" y="297"/>
                  <a:pt x="0" y="333"/>
                  <a:pt x="0" y="375"/>
                </a:cubicBezTo>
                <a:lnTo>
                  <a:pt x="0" y="442"/>
                </a:lnTo>
                <a:cubicBezTo>
                  <a:pt x="0" y="485"/>
                  <a:pt x="28" y="522"/>
                  <a:pt x="66" y="536"/>
                </a:cubicBezTo>
                <a:lnTo>
                  <a:pt x="66" y="575"/>
                </a:lnTo>
                <a:cubicBezTo>
                  <a:pt x="66" y="593"/>
                  <a:pt x="81" y="608"/>
                  <a:pt x="100" y="608"/>
                </a:cubicBezTo>
                <a:lnTo>
                  <a:pt x="133" y="608"/>
                </a:lnTo>
                <a:cubicBezTo>
                  <a:pt x="151" y="608"/>
                  <a:pt x="166" y="593"/>
                  <a:pt x="166" y="575"/>
                </a:cubicBezTo>
                <a:lnTo>
                  <a:pt x="166" y="542"/>
                </a:lnTo>
                <a:lnTo>
                  <a:pt x="566" y="542"/>
                </a:lnTo>
                <a:lnTo>
                  <a:pt x="566" y="575"/>
                </a:lnTo>
                <a:cubicBezTo>
                  <a:pt x="566" y="593"/>
                  <a:pt x="581" y="608"/>
                  <a:pt x="600" y="608"/>
                </a:cubicBezTo>
                <a:lnTo>
                  <a:pt x="633" y="608"/>
                </a:lnTo>
                <a:cubicBezTo>
                  <a:pt x="651" y="608"/>
                  <a:pt x="666" y="593"/>
                  <a:pt x="666" y="575"/>
                </a:cubicBezTo>
                <a:lnTo>
                  <a:pt x="666" y="536"/>
                </a:lnTo>
                <a:cubicBezTo>
                  <a:pt x="705" y="522"/>
                  <a:pt x="733" y="485"/>
                  <a:pt x="733" y="442"/>
                </a:cubicBezTo>
                <a:lnTo>
                  <a:pt x="733" y="375"/>
                </a:lnTo>
                <a:cubicBezTo>
                  <a:pt x="733" y="332"/>
                  <a:pt x="705" y="295"/>
                  <a:pt x="666" y="281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368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1E98DC96-09BF-42E4-8884-2A67AA63383C}"/>
              </a:ext>
            </a:extLst>
          </p:cNvPr>
          <p:cNvSpPr/>
          <p:nvPr/>
        </p:nvSpPr>
        <p:spPr>
          <a:xfrm>
            <a:off x="6477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5C00A8C-33E4-417C-9297-90D8B06A9BC3}"/>
              </a:ext>
            </a:extLst>
          </p:cNvPr>
          <p:cNvGrpSpPr/>
          <p:nvPr/>
        </p:nvGrpSpPr>
        <p:grpSpPr>
          <a:xfrm>
            <a:off x="2856630" y="4500736"/>
            <a:ext cx="2891028" cy="977906"/>
            <a:chOff x="2823972" y="2240204"/>
            <a:chExt cx="2891028" cy="97790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2E5F321-A314-4451-BBD3-52DDF82293D6}"/>
                </a:ext>
              </a:extLst>
            </p:cNvPr>
            <p:cNvSpPr/>
            <p:nvPr/>
          </p:nvSpPr>
          <p:spPr>
            <a:xfrm>
              <a:off x="2823972" y="2531575"/>
              <a:ext cx="2891028" cy="68653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- What’s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 class and what’s the difference between a class and an instance.</a:t>
              </a:r>
            </a:p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irst steps to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9E2C8A7-5041-4C5D-A788-A8992B32574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3. Class vs Instance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E847F7B4-EC83-41D2-B4C3-923A8E831135}"/>
              </a:ext>
            </a:extLst>
          </p:cNvPr>
          <p:cNvSpPr/>
          <p:nvPr/>
        </p:nvSpPr>
        <p:spPr>
          <a:xfrm>
            <a:off x="647700" y="2060121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D969B51-6ABD-4BA1-88B8-CFD988F7B933}"/>
              </a:ext>
            </a:extLst>
          </p:cNvPr>
          <p:cNvGrpSpPr/>
          <p:nvPr/>
        </p:nvGrpSpPr>
        <p:grpSpPr>
          <a:xfrm>
            <a:off x="2856629" y="2350807"/>
            <a:ext cx="3010771" cy="855074"/>
            <a:chOff x="2823971" y="2240204"/>
            <a:chExt cx="3010771" cy="855074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F7F686-101E-40EF-9B18-F0EA98976FB3}"/>
                </a:ext>
              </a:extLst>
            </p:cNvPr>
            <p:cNvSpPr/>
            <p:nvPr/>
          </p:nvSpPr>
          <p:spPr>
            <a:xfrm>
              <a:off x="2823972" y="2600399"/>
              <a:ext cx="3010770" cy="49487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et’s try sth new in our programming and see how it goes…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Segoe UI Light" panose="020B0502040204020203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C9BE9FC-99E8-4CA2-ABB4-35A7BE969512}"/>
                </a:ext>
              </a:extLst>
            </p:cNvPr>
            <p:cNvSpPr/>
            <p:nvPr/>
          </p:nvSpPr>
          <p:spPr>
            <a:xfrm>
              <a:off x="2823971" y="2240204"/>
              <a:ext cx="251984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1. An Example to Begin With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552D16AE-6BD5-40AA-B7CC-35EB7A2BE401}"/>
              </a:ext>
            </a:extLst>
          </p:cNvPr>
          <p:cNvSpPr/>
          <p:nvPr/>
        </p:nvSpPr>
        <p:spPr>
          <a:xfrm>
            <a:off x="6210300" y="4210050"/>
            <a:ext cx="5334000" cy="1943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57ACBA-EEA7-467B-9A31-E696C9C420C7}"/>
              </a:ext>
            </a:extLst>
          </p:cNvPr>
          <p:cNvGrpSpPr/>
          <p:nvPr/>
        </p:nvGrpSpPr>
        <p:grpSpPr>
          <a:xfrm>
            <a:off x="8419230" y="4500736"/>
            <a:ext cx="2891028" cy="1380452"/>
            <a:chOff x="2823972" y="2240204"/>
            <a:chExt cx="2891028" cy="1380452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A9464E-BF84-49DE-BA8A-3B126CFF9A0F}"/>
                </a:ext>
              </a:extLst>
            </p:cNvPr>
            <p:cNvSpPr/>
            <p:nvPr/>
          </p:nvSpPr>
          <p:spPr>
            <a:xfrm>
              <a:off x="2823972" y="2531575"/>
              <a:ext cx="2891028" cy="108908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just">
                <a:lnSpc>
                  <a:spcPct val="109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Lorem ipsum dolor si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me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consectetu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adipiscing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lit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ur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acinia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qui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tortor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eu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dapib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Fusc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malesuad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sem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null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, et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viverr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libero semper porta.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Phasellus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Segoe UI Light" panose="020B0502040204020203" pitchFamily="34" charset="0"/>
                </a:rPr>
                <a:t> dui libero.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94EC3D-6187-4F74-9450-19D287C7FB80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4. OOP in Python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EC2C61D7-9229-4832-854B-15930DD3115B}"/>
              </a:ext>
            </a:extLst>
          </p:cNvPr>
          <p:cNvSpPr/>
          <p:nvPr/>
        </p:nvSpPr>
        <p:spPr>
          <a:xfrm>
            <a:off x="6210300" y="2060121"/>
            <a:ext cx="5334000" cy="1943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3EF24C9-6F7D-40A6-B050-FE4AAE786D86}"/>
              </a:ext>
            </a:extLst>
          </p:cNvPr>
          <p:cNvGrpSpPr/>
          <p:nvPr/>
        </p:nvGrpSpPr>
        <p:grpSpPr>
          <a:xfrm>
            <a:off x="8288594" y="2350807"/>
            <a:ext cx="3021664" cy="987524"/>
            <a:chOff x="2823972" y="2240204"/>
            <a:chExt cx="2891028" cy="987524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A725081-2F46-4427-A2A8-B12662851C92}"/>
                </a:ext>
              </a:extLst>
            </p:cNvPr>
            <p:cNvSpPr/>
            <p:nvPr/>
          </p:nvSpPr>
          <p:spPr>
            <a:xfrm>
              <a:off x="2823972" y="2531575"/>
              <a:ext cx="2891028" cy="696153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What does OOP mean?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Some simple explanations and examples.</a:t>
              </a:r>
            </a:p>
            <a:p>
              <a:pPr marL="171450" indent="-171450" algn="just">
                <a:lnSpc>
                  <a:spcPct val="109000"/>
                </a:lnSpc>
                <a:buFontTx/>
                <a:buChar char="-"/>
              </a:pPr>
              <a:r>
                <a:rPr lang="en-US" sz="1200" dirty="0">
                  <a:solidFill>
                    <a:schemeClr val="bg1"/>
                  </a:solidFill>
                  <a:cs typeface="Segoe UI Light" panose="020B0502040204020203" pitchFamily="34" charset="0"/>
                </a:rPr>
                <a:t>A Python object.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8B4D64F-188A-465C-9434-60C6E5EEBE48}"/>
                </a:ext>
              </a:extLst>
            </p:cNvPr>
            <p:cNvSpPr/>
            <p:nvPr/>
          </p:nvSpPr>
          <p:spPr>
            <a:xfrm>
              <a:off x="2823972" y="2240204"/>
              <a:ext cx="2317179" cy="308418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>
                <a:lnSpc>
                  <a:spcPct val="109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2. </a:t>
              </a:r>
              <a:r>
                <a:rPr lang="en-US" sz="1400" dirty="0">
                  <a:solidFill>
                    <a:schemeClr val="bg1"/>
                  </a:solidFill>
                  <a:latin typeface="Ubuntu Medium" panose="020B0604030602030204" pitchFamily="34" charset="0"/>
                  <a:cs typeface="Segoe UI Light" panose="020B0502040204020203" pitchFamily="34" charset="0"/>
                </a:rPr>
                <a:t>An Introduction to OOP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4F30863-858F-492E-9C0B-548CD3A84DA0}"/>
              </a:ext>
            </a:extLst>
          </p:cNvPr>
          <p:cNvSpPr txBox="1"/>
          <p:nvPr/>
        </p:nvSpPr>
        <p:spPr>
          <a:xfrm>
            <a:off x="4010026" y="704850"/>
            <a:ext cx="4171949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Ubuntu Medium" panose="020B0604030602030204" pitchFamily="34" charset="0"/>
                <a:cs typeface="Segoe UI Light" panose="020B0502040204020203" pitchFamily="34" charset="0"/>
              </a:rPr>
              <a:t>Contents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Ubuntu Medium" panose="020B0604030602030204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BF0719-D1CC-44D6-BA45-AEFCCE7D134F}"/>
              </a:ext>
            </a:extLst>
          </p:cNvPr>
          <p:cNvCxnSpPr/>
          <p:nvPr/>
        </p:nvCxnSpPr>
        <p:spPr>
          <a:xfrm>
            <a:off x="5867400" y="1372129"/>
            <a:ext cx="457200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741A4E7-4860-4159-910A-B26A54FA6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66E348-CA7B-4FFA-8DD0-421580685F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8F97CA1-1BDE-4FF6-9841-34DECBD22C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8ACAFB9-B712-48B6-9D2E-C396431D48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25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79677" y="2259264"/>
            <a:ext cx="1504488" cy="1423990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26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243654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*transport*transportation*vehicle*commute*drive*ride*automotive*road*vintag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*logistics*transport*transportation*vehicle*commute*drive*ride*automotive*road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commute_POWER_USER_SEPARATOR_ICONS_drive_POWER_USER_SEPARATOR_ICONS_transport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commute_POWER_USER_SEPARATOR_ICONS_drive_POWER_USER_SEPARATOR_ICONS_transportati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_POWER_USER_SEPARATOR_ICONS_humanitarian_POWER_USER_SEPARATOR_ICONS_logistics_POWER_USER_SEPARATOR_ICONS_transport_POWER_USER_SEPARATOR_ICONS_transportation_POWER_USER_SEPARATOR_ICONS_vehic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*transport*transportation*vehicle*commute*drive*ride*automotive*road*vinta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*logistics*transport*transportation*vehicle*commute*drive*ride*automotive*road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"/>
</p:tagLst>
</file>

<file path=ppt/theme/theme1.xml><?xml version="1.0" encoding="utf-8"?>
<a:theme xmlns:a="http://schemas.openxmlformats.org/drawingml/2006/main" name="Office Theme">
  <a:themeElements>
    <a:clrScheme name="Ord_Syed 153. Currency Symbols">
      <a:dk1>
        <a:srgbClr val="000000"/>
      </a:dk1>
      <a:lt1>
        <a:srgbClr val="FFFFFF"/>
      </a:lt1>
      <a:dk2>
        <a:srgbClr val="2D3847"/>
      </a:dk2>
      <a:lt2>
        <a:srgbClr val="E7E6E6"/>
      </a:lt2>
      <a:accent1>
        <a:srgbClr val="0077B6"/>
      </a:accent1>
      <a:accent2>
        <a:srgbClr val="0096C7"/>
      </a:accent2>
      <a:accent3>
        <a:srgbClr val="00B4D8"/>
      </a:accent3>
      <a:accent4>
        <a:srgbClr val="48CAE4"/>
      </a:accent4>
      <a:accent5>
        <a:srgbClr val="90E0EF"/>
      </a:accent5>
      <a:accent6>
        <a:srgbClr val="B8EBF5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dirty="0" smtClean="0">
            <a:latin typeface="+mj-lt"/>
            <a:cs typeface="Segoe UI Light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62</TotalTime>
  <Words>1488</Words>
  <Application>Microsoft Office PowerPoint</Application>
  <PresentationFormat>Widescreen</PresentationFormat>
  <Paragraphs>191</Paragraphs>
  <Slides>2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Arial</vt:lpstr>
      <vt:lpstr>Calibri</vt:lpstr>
      <vt:lpstr>Calibri Light</vt:lpstr>
      <vt:lpstr>Freestyle Script</vt:lpstr>
      <vt:lpstr>Lato</vt:lpstr>
      <vt:lpstr>Segoe UI</vt:lpstr>
      <vt:lpstr>Segoe UI Light</vt:lpstr>
      <vt:lpstr>Ubuntu</vt:lpstr>
      <vt:lpstr>Ubuntu Light</vt:lpstr>
      <vt:lpstr>Ubuntu Medium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RG Y</dc:creator>
  <cp:lastModifiedBy>Maryam Tashvighi</cp:lastModifiedBy>
  <cp:revision>320</cp:revision>
  <dcterms:created xsi:type="dcterms:W3CDTF">2018-01-17T01:57:08Z</dcterms:created>
  <dcterms:modified xsi:type="dcterms:W3CDTF">2021-09-09T11:28:10Z</dcterms:modified>
</cp:coreProperties>
</file>